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media/image11.jpg" ContentType="image/jpg"/>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media/image12.jpg" ContentType="image/jpg"/>
  <Override PartName="/ppt/tags/tag20.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 id="2147483702" r:id="rId2"/>
  </p:sldMasterIdLst>
  <p:notesMasterIdLst>
    <p:notesMasterId r:id="rId9"/>
  </p:notesMasterIdLst>
  <p:sldIdLst>
    <p:sldId id="256" r:id="rId3"/>
    <p:sldId id="2147376430" r:id="rId4"/>
    <p:sldId id="2147376434" r:id="rId5"/>
    <p:sldId id="2147376439" r:id="rId6"/>
    <p:sldId id="2147376440" r:id="rId7"/>
    <p:sldId id="2147376442"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isher, Taylor L" initials="FTL" lastIdx="24" clrIdx="0">
    <p:extLst>
      <p:ext uri="{19B8F6BF-5375-455C-9EA6-DF929625EA0E}">
        <p15:presenceInfo xmlns:p15="http://schemas.microsoft.com/office/powerpoint/2012/main" userId="S::n826748@sbna.santander.us::3d118961-b63e-4e37-9989-0263a4fb441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6CA"/>
    <a:srgbClr val="73ACC3"/>
    <a:srgbClr val="FF9191"/>
    <a:srgbClr val="FBFBFB"/>
    <a:srgbClr val="FFFBEF"/>
    <a:srgbClr val="FFEFEF"/>
    <a:srgbClr val="8DBBCD"/>
    <a:srgbClr val="EB0000"/>
    <a:srgbClr val="FFFFFF"/>
    <a:srgbClr val="4D2FB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98BD62-ADE5-49CC-9F1E-65B3273368B0}" v="2" dt="2024-09-04T14:32:50.4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155" autoAdjust="0"/>
    <p:restoredTop sz="96224" autoAdjust="0"/>
  </p:normalViewPr>
  <p:slideViewPr>
    <p:cSldViewPr snapToGrid="0">
      <p:cViewPr varScale="1">
        <p:scale>
          <a:sx n="84" d="100"/>
          <a:sy n="84" d="100"/>
        </p:scale>
        <p:origin x="31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Master" Target="slideMasters/slideMaster2.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es, Warren F" userId="22f695b8-5c5a-4b0c-96dd-2a415f78785d" providerId="ADAL" clId="{1498BD62-ADE5-49CC-9F1E-65B3273368B0}"/>
    <pc:docChg chg="undo custSel addSld delSld modSld">
      <pc:chgData name="Jones, Warren F" userId="22f695b8-5c5a-4b0c-96dd-2a415f78785d" providerId="ADAL" clId="{1498BD62-ADE5-49CC-9F1E-65B3273368B0}" dt="2024-09-04T14:37:52.025" v="683" actId="20577"/>
      <pc:docMkLst>
        <pc:docMk/>
      </pc:docMkLst>
      <pc:sldChg chg="modSp mod">
        <pc:chgData name="Jones, Warren F" userId="22f695b8-5c5a-4b0c-96dd-2a415f78785d" providerId="ADAL" clId="{1498BD62-ADE5-49CC-9F1E-65B3273368B0}" dt="2024-09-04T14:36:33.607" v="673" actId="20577"/>
        <pc:sldMkLst>
          <pc:docMk/>
          <pc:sldMk cId="2053816495" sldId="2147376430"/>
        </pc:sldMkLst>
        <pc:spChg chg="mod">
          <ac:chgData name="Jones, Warren F" userId="22f695b8-5c5a-4b0c-96dd-2a415f78785d" providerId="ADAL" clId="{1498BD62-ADE5-49CC-9F1E-65B3273368B0}" dt="2024-09-04T14:36:33.607" v="673" actId="20577"/>
          <ac:spMkLst>
            <pc:docMk/>
            <pc:sldMk cId="2053816495" sldId="2147376430"/>
            <ac:spMk id="5" creationId="{817CC65B-A98D-674A-C3CD-C9460437DA8B}"/>
          </ac:spMkLst>
        </pc:spChg>
        <pc:spChg chg="mod">
          <ac:chgData name="Jones, Warren F" userId="22f695b8-5c5a-4b0c-96dd-2a415f78785d" providerId="ADAL" clId="{1498BD62-ADE5-49CC-9F1E-65B3273368B0}" dt="2024-09-04T14:34:11.684" v="656" actId="2711"/>
          <ac:spMkLst>
            <pc:docMk/>
            <pc:sldMk cId="2053816495" sldId="2147376430"/>
            <ac:spMk id="13" creationId="{D97BE58F-FA1E-4A83-478F-AC66B425C127}"/>
          </ac:spMkLst>
        </pc:spChg>
      </pc:sldChg>
      <pc:sldChg chg="modSp mod">
        <pc:chgData name="Jones, Warren F" userId="22f695b8-5c5a-4b0c-96dd-2a415f78785d" providerId="ADAL" clId="{1498BD62-ADE5-49CC-9F1E-65B3273368B0}" dt="2024-09-04T14:37:52.025" v="683" actId="20577"/>
        <pc:sldMkLst>
          <pc:docMk/>
          <pc:sldMk cId="1195078608" sldId="2147376439"/>
        </pc:sldMkLst>
        <pc:spChg chg="mod">
          <ac:chgData name="Jones, Warren F" userId="22f695b8-5c5a-4b0c-96dd-2a415f78785d" providerId="ADAL" clId="{1498BD62-ADE5-49CC-9F1E-65B3273368B0}" dt="2024-09-04T14:37:50.016" v="680" actId="20577"/>
          <ac:spMkLst>
            <pc:docMk/>
            <pc:sldMk cId="1195078608" sldId="2147376439"/>
            <ac:spMk id="3" creationId="{9ABBFA82-7E6B-7F1B-1829-AD27D447D873}"/>
          </ac:spMkLst>
        </pc:spChg>
        <pc:spChg chg="mod">
          <ac:chgData name="Jones, Warren F" userId="22f695b8-5c5a-4b0c-96dd-2a415f78785d" providerId="ADAL" clId="{1498BD62-ADE5-49CC-9F1E-65B3273368B0}" dt="2024-09-04T14:37:52.025" v="683" actId="20577"/>
          <ac:spMkLst>
            <pc:docMk/>
            <pc:sldMk cId="1195078608" sldId="2147376439"/>
            <ac:spMk id="14" creationId="{9D45F922-9163-59AF-2C37-9AD0B1C73BA1}"/>
          </ac:spMkLst>
        </pc:spChg>
      </pc:sldChg>
      <pc:sldChg chg="addSp delSp modSp del mod">
        <pc:chgData name="Jones, Warren F" userId="22f695b8-5c5a-4b0c-96dd-2a415f78785d" providerId="ADAL" clId="{1498BD62-ADE5-49CC-9F1E-65B3273368B0}" dt="2024-09-04T14:37:39.631" v="675" actId="47"/>
        <pc:sldMkLst>
          <pc:docMk/>
          <pc:sldMk cId="2751471922" sldId="2147376441"/>
        </pc:sldMkLst>
        <pc:spChg chg="add mod">
          <ac:chgData name="Jones, Warren F" userId="22f695b8-5c5a-4b0c-96dd-2a415f78785d" providerId="ADAL" clId="{1498BD62-ADE5-49CC-9F1E-65B3273368B0}" dt="2024-09-04T14:31:27.828" v="555" actId="6549"/>
          <ac:spMkLst>
            <pc:docMk/>
            <pc:sldMk cId="2751471922" sldId="2147376441"/>
            <ac:spMk id="5" creationId="{3A7D1EE4-19AB-D160-8A85-57C9453FB504}"/>
          </ac:spMkLst>
        </pc:spChg>
        <pc:spChg chg="mod">
          <ac:chgData name="Jones, Warren F" userId="22f695b8-5c5a-4b0c-96dd-2a415f78785d" providerId="ADAL" clId="{1498BD62-ADE5-49CC-9F1E-65B3273368B0}" dt="2024-09-04T14:26:45.366" v="100" actId="1037"/>
          <ac:spMkLst>
            <pc:docMk/>
            <pc:sldMk cId="2751471922" sldId="2147376441"/>
            <ac:spMk id="8" creationId="{60446A03-6C6D-5464-08D8-37363E9DE7F7}"/>
          </ac:spMkLst>
        </pc:spChg>
        <pc:spChg chg="mod">
          <ac:chgData name="Jones, Warren F" userId="22f695b8-5c5a-4b0c-96dd-2a415f78785d" providerId="ADAL" clId="{1498BD62-ADE5-49CC-9F1E-65B3273368B0}" dt="2024-09-04T14:26:45.366" v="100" actId="1037"/>
          <ac:spMkLst>
            <pc:docMk/>
            <pc:sldMk cId="2751471922" sldId="2147376441"/>
            <ac:spMk id="9" creationId="{319868B6-695B-638A-EA6E-398AC90BC4DA}"/>
          </ac:spMkLst>
        </pc:spChg>
        <pc:spChg chg="add del">
          <ac:chgData name="Jones, Warren F" userId="22f695b8-5c5a-4b0c-96dd-2a415f78785d" providerId="ADAL" clId="{1498BD62-ADE5-49CC-9F1E-65B3273368B0}" dt="2024-09-04T14:32:45.301" v="581" actId="22"/>
          <ac:spMkLst>
            <pc:docMk/>
            <pc:sldMk cId="2751471922" sldId="2147376441"/>
            <ac:spMk id="10" creationId="{7B26F6A2-954B-4563-E648-48A962569F4E}"/>
          </ac:spMkLst>
        </pc:spChg>
        <pc:spChg chg="mod">
          <ac:chgData name="Jones, Warren F" userId="22f695b8-5c5a-4b0c-96dd-2a415f78785d" providerId="ADAL" clId="{1498BD62-ADE5-49CC-9F1E-65B3273368B0}" dt="2024-09-04T14:26:56.527" v="108" actId="14100"/>
          <ac:spMkLst>
            <pc:docMk/>
            <pc:sldMk cId="2751471922" sldId="2147376441"/>
            <ac:spMk id="14" creationId="{C32021C7-16B0-45E0-4FA6-B2EF6D2258FB}"/>
          </ac:spMkLst>
        </pc:spChg>
        <pc:spChg chg="mod">
          <ac:chgData name="Jones, Warren F" userId="22f695b8-5c5a-4b0c-96dd-2a415f78785d" providerId="ADAL" clId="{1498BD62-ADE5-49CC-9F1E-65B3273368B0}" dt="2024-09-04T14:31:01.253" v="486" actId="6549"/>
          <ac:spMkLst>
            <pc:docMk/>
            <pc:sldMk cId="2751471922" sldId="2147376441"/>
            <ac:spMk id="16" creationId="{2787391A-E2A7-FCCB-FE4A-3CB4C4A26C43}"/>
          </ac:spMkLst>
        </pc:spChg>
        <pc:picChg chg="mod">
          <ac:chgData name="Jones, Warren F" userId="22f695b8-5c5a-4b0c-96dd-2a415f78785d" providerId="ADAL" clId="{1498BD62-ADE5-49CC-9F1E-65B3273368B0}" dt="2024-09-04T14:26:34.026" v="52" actId="14100"/>
          <ac:picMkLst>
            <pc:docMk/>
            <pc:sldMk cId="2751471922" sldId="2147376441"/>
            <ac:picMk id="3" creationId="{61B7A494-03EF-996E-3CE8-BB2A2011D8A7}"/>
          </ac:picMkLst>
        </pc:picChg>
        <pc:picChg chg="mod">
          <ac:chgData name="Jones, Warren F" userId="22f695b8-5c5a-4b0c-96dd-2a415f78785d" providerId="ADAL" clId="{1498BD62-ADE5-49CC-9F1E-65B3273368B0}" dt="2024-09-04T14:26:34.026" v="52" actId="14100"/>
          <ac:picMkLst>
            <pc:docMk/>
            <pc:sldMk cId="2751471922" sldId="2147376441"/>
            <ac:picMk id="7" creationId="{3FF37E0E-DCBB-2DA8-BFBF-96928850C019}"/>
          </ac:picMkLst>
        </pc:picChg>
      </pc:sldChg>
      <pc:sldChg chg="addSp delSp modSp add mod">
        <pc:chgData name="Jones, Warren F" userId="22f695b8-5c5a-4b0c-96dd-2a415f78785d" providerId="ADAL" clId="{1498BD62-ADE5-49CC-9F1E-65B3273368B0}" dt="2024-09-04T14:37:37.640" v="674" actId="14100"/>
        <pc:sldMkLst>
          <pc:docMk/>
          <pc:sldMk cId="2881839779" sldId="2147376442"/>
        </pc:sldMkLst>
        <pc:spChg chg="mod">
          <ac:chgData name="Jones, Warren F" userId="22f695b8-5c5a-4b0c-96dd-2a415f78785d" providerId="ADAL" clId="{1498BD62-ADE5-49CC-9F1E-65B3273368B0}" dt="2024-09-04T14:37:37.640" v="674" actId="14100"/>
          <ac:spMkLst>
            <pc:docMk/>
            <pc:sldMk cId="2881839779" sldId="2147376442"/>
            <ac:spMk id="5" creationId="{3A7D1EE4-19AB-D160-8A85-57C9453FB504}"/>
          </ac:spMkLst>
        </pc:spChg>
        <pc:spChg chg="add mod">
          <ac:chgData name="Jones, Warren F" userId="22f695b8-5c5a-4b0c-96dd-2a415f78785d" providerId="ADAL" clId="{1498BD62-ADE5-49CC-9F1E-65B3273368B0}" dt="2024-09-04T14:33:35.317" v="591" actId="14100"/>
          <ac:spMkLst>
            <pc:docMk/>
            <pc:sldMk cId="2881839779" sldId="2147376442"/>
            <ac:spMk id="6" creationId="{3DF97AA5-0DC2-2B3B-A3F5-8E6AD0C1C658}"/>
          </ac:spMkLst>
        </pc:spChg>
        <pc:spChg chg="del">
          <ac:chgData name="Jones, Warren F" userId="22f695b8-5c5a-4b0c-96dd-2a415f78785d" providerId="ADAL" clId="{1498BD62-ADE5-49CC-9F1E-65B3273368B0}" dt="2024-09-04T14:31:40.097" v="557" actId="478"/>
          <ac:spMkLst>
            <pc:docMk/>
            <pc:sldMk cId="2881839779" sldId="2147376442"/>
            <ac:spMk id="8" creationId="{60446A03-6C6D-5464-08D8-37363E9DE7F7}"/>
          </ac:spMkLst>
        </pc:spChg>
        <pc:spChg chg="del">
          <ac:chgData name="Jones, Warren F" userId="22f695b8-5c5a-4b0c-96dd-2a415f78785d" providerId="ADAL" clId="{1498BD62-ADE5-49CC-9F1E-65B3273368B0}" dt="2024-09-04T14:31:40.097" v="557" actId="478"/>
          <ac:spMkLst>
            <pc:docMk/>
            <pc:sldMk cId="2881839779" sldId="2147376442"/>
            <ac:spMk id="9" creationId="{319868B6-695B-638A-EA6E-398AC90BC4DA}"/>
          </ac:spMkLst>
        </pc:spChg>
        <pc:spChg chg="add mod">
          <ac:chgData name="Jones, Warren F" userId="22f695b8-5c5a-4b0c-96dd-2a415f78785d" providerId="ADAL" clId="{1498BD62-ADE5-49CC-9F1E-65B3273368B0}" dt="2024-09-04T14:33:45.733" v="644" actId="1038"/>
          <ac:spMkLst>
            <pc:docMk/>
            <pc:sldMk cId="2881839779" sldId="2147376442"/>
            <ac:spMk id="12" creationId="{1D9B0E77-F99C-6AA2-6794-6592E0DC021B}"/>
          </ac:spMkLst>
        </pc:spChg>
        <pc:spChg chg="add mod">
          <ac:chgData name="Jones, Warren F" userId="22f695b8-5c5a-4b0c-96dd-2a415f78785d" providerId="ADAL" clId="{1498BD62-ADE5-49CC-9F1E-65B3273368B0}" dt="2024-09-04T14:33:40.073" v="610" actId="1037"/>
          <ac:spMkLst>
            <pc:docMk/>
            <pc:sldMk cId="2881839779" sldId="2147376442"/>
            <ac:spMk id="13" creationId="{31971D05-4136-652D-A196-BDE6AB3FEA70}"/>
          </ac:spMkLst>
        </pc:spChg>
        <pc:spChg chg="del">
          <ac:chgData name="Jones, Warren F" userId="22f695b8-5c5a-4b0c-96dd-2a415f78785d" providerId="ADAL" clId="{1498BD62-ADE5-49CC-9F1E-65B3273368B0}" dt="2024-09-04T14:31:40.097" v="557" actId="478"/>
          <ac:spMkLst>
            <pc:docMk/>
            <pc:sldMk cId="2881839779" sldId="2147376442"/>
            <ac:spMk id="14" creationId="{C32021C7-16B0-45E0-4FA6-B2EF6D2258FB}"/>
          </ac:spMkLst>
        </pc:spChg>
        <pc:spChg chg="mod">
          <ac:chgData name="Jones, Warren F" userId="22f695b8-5c5a-4b0c-96dd-2a415f78785d" providerId="ADAL" clId="{1498BD62-ADE5-49CC-9F1E-65B3273368B0}" dt="2024-09-04T14:36:05.259" v="669" actId="14100"/>
          <ac:spMkLst>
            <pc:docMk/>
            <pc:sldMk cId="2881839779" sldId="2147376442"/>
            <ac:spMk id="16" creationId="{2787391A-E2A7-FCCB-FE4A-3CB4C4A26C43}"/>
          </ac:spMkLst>
        </pc:spChg>
        <pc:picChg chg="del">
          <ac:chgData name="Jones, Warren F" userId="22f695b8-5c5a-4b0c-96dd-2a415f78785d" providerId="ADAL" clId="{1498BD62-ADE5-49CC-9F1E-65B3273368B0}" dt="2024-09-04T14:31:40.097" v="557" actId="478"/>
          <ac:picMkLst>
            <pc:docMk/>
            <pc:sldMk cId="2881839779" sldId="2147376442"/>
            <ac:picMk id="3" creationId="{61B7A494-03EF-996E-3CE8-BB2A2011D8A7}"/>
          </ac:picMkLst>
        </pc:picChg>
        <pc:picChg chg="del">
          <ac:chgData name="Jones, Warren F" userId="22f695b8-5c5a-4b0c-96dd-2a415f78785d" providerId="ADAL" clId="{1498BD62-ADE5-49CC-9F1E-65B3273368B0}" dt="2024-09-04T14:31:40.097" v="557" actId="478"/>
          <ac:picMkLst>
            <pc:docMk/>
            <pc:sldMk cId="2881839779" sldId="2147376442"/>
            <ac:picMk id="7" creationId="{3FF37E0E-DCBB-2DA8-BFBF-96928850C019}"/>
          </ac:picMkLst>
        </pc:picChg>
        <pc:picChg chg="add mod">
          <ac:chgData name="Jones, Warren F" userId="22f695b8-5c5a-4b0c-96dd-2a415f78785d" providerId="ADAL" clId="{1498BD62-ADE5-49CC-9F1E-65B3273368B0}" dt="2024-09-04T14:33:21.859" v="587" actId="14100"/>
          <ac:picMkLst>
            <pc:docMk/>
            <pc:sldMk cId="2881839779" sldId="2147376442"/>
            <ac:picMk id="10" creationId="{7B19C6C4-18AD-7A41-D2D1-A076E27DADC7}"/>
          </ac:picMkLst>
        </pc:picChg>
        <pc:picChg chg="add mod">
          <ac:chgData name="Jones, Warren F" userId="22f695b8-5c5a-4b0c-96dd-2a415f78785d" providerId="ADAL" clId="{1498BD62-ADE5-49CC-9F1E-65B3273368B0}" dt="2024-09-04T14:33:27.162" v="588" actId="1076"/>
          <ac:picMkLst>
            <pc:docMk/>
            <pc:sldMk cId="2881839779" sldId="2147376442"/>
            <ac:picMk id="11" creationId="{CC7E7B20-D3D3-F778-3D2F-9D5412AA72C7}"/>
          </ac:picMkLst>
        </pc:picChg>
      </pc:sldChg>
    </pc:docChg>
  </pc:docChgLst>
  <pc:docChgLst>
    <pc:chgData name="Jones, Warren F" userId="22f695b8-5c5a-4b0c-96dd-2a415f78785d" providerId="ADAL" clId="{F7FE9781-97F5-4C96-A3EB-7967E04D58DF}"/>
    <pc:docChg chg="undo custSel addSld delSld modSld">
      <pc:chgData name="Jones, Warren F" userId="22f695b8-5c5a-4b0c-96dd-2a415f78785d" providerId="ADAL" clId="{F7FE9781-97F5-4C96-A3EB-7967E04D58DF}" dt="2024-07-29T20:36:33.480" v="6219" actId="113"/>
      <pc:docMkLst>
        <pc:docMk/>
      </pc:docMkLst>
      <pc:sldChg chg="addSp delSp modSp mod modTransition">
        <pc:chgData name="Jones, Warren F" userId="22f695b8-5c5a-4b0c-96dd-2a415f78785d" providerId="ADAL" clId="{F7FE9781-97F5-4C96-A3EB-7967E04D58DF}" dt="2024-07-29T20:36:15.862" v="6218" actId="113"/>
        <pc:sldMkLst>
          <pc:docMk/>
          <pc:sldMk cId="2053816495" sldId="2147376430"/>
        </pc:sldMkLst>
        <pc:spChg chg="mod">
          <ac:chgData name="Jones, Warren F" userId="22f695b8-5c5a-4b0c-96dd-2a415f78785d" providerId="ADAL" clId="{F7FE9781-97F5-4C96-A3EB-7967E04D58DF}" dt="2024-07-29T20:36:15.862" v="6218" actId="113"/>
          <ac:spMkLst>
            <pc:docMk/>
            <pc:sldMk cId="2053816495" sldId="2147376430"/>
            <ac:spMk id="5" creationId="{817CC65B-A98D-674A-C3CD-C9460437DA8B}"/>
          </ac:spMkLst>
        </pc:spChg>
        <pc:spChg chg="mod">
          <ac:chgData name="Jones, Warren F" userId="22f695b8-5c5a-4b0c-96dd-2a415f78785d" providerId="ADAL" clId="{F7FE9781-97F5-4C96-A3EB-7967E04D58DF}" dt="2024-07-29T18:32:31.472" v="3045" actId="14100"/>
          <ac:spMkLst>
            <pc:docMk/>
            <pc:sldMk cId="2053816495" sldId="2147376430"/>
            <ac:spMk id="13" creationId="{D97BE58F-FA1E-4A83-478F-AC66B425C127}"/>
          </ac:spMkLst>
        </pc:spChg>
        <pc:spChg chg="add del mod">
          <ac:chgData name="Jones, Warren F" userId="22f695b8-5c5a-4b0c-96dd-2a415f78785d" providerId="ADAL" clId="{F7FE9781-97F5-4C96-A3EB-7967E04D58DF}" dt="2024-07-29T18:07:43.079" v="1337"/>
          <ac:spMkLst>
            <pc:docMk/>
            <pc:sldMk cId="2053816495" sldId="2147376430"/>
            <ac:spMk id="16" creationId="{1F1CA3AB-D172-3552-CB5A-1E317BC0C08D}"/>
          </ac:spMkLst>
        </pc:spChg>
        <pc:spChg chg="add mod">
          <ac:chgData name="Jones, Warren F" userId="22f695b8-5c5a-4b0c-96dd-2a415f78785d" providerId="ADAL" clId="{F7FE9781-97F5-4C96-A3EB-7967E04D58DF}" dt="2024-07-29T18:14:48.677" v="2426" actId="403"/>
          <ac:spMkLst>
            <pc:docMk/>
            <pc:sldMk cId="2053816495" sldId="2147376430"/>
            <ac:spMk id="17" creationId="{4C44F76F-EDF2-ADE8-B548-BE78FF940438}"/>
          </ac:spMkLst>
        </pc:spChg>
        <pc:picChg chg="mod">
          <ac:chgData name="Jones, Warren F" userId="22f695b8-5c5a-4b0c-96dd-2a415f78785d" providerId="ADAL" clId="{F7FE9781-97F5-4C96-A3EB-7967E04D58DF}" dt="2024-07-29T18:32:34.940" v="3046" actId="14100"/>
          <ac:picMkLst>
            <pc:docMk/>
            <pc:sldMk cId="2053816495" sldId="2147376430"/>
            <ac:picMk id="15" creationId="{3ACF842C-58E1-8B5D-EC2F-8CC5D5BD3CBC}"/>
          </ac:picMkLst>
        </pc:picChg>
      </pc:sldChg>
      <pc:sldChg chg="addSp delSp modSp add del mod">
        <pc:chgData name="Jones, Warren F" userId="22f695b8-5c5a-4b0c-96dd-2a415f78785d" providerId="ADAL" clId="{F7FE9781-97F5-4C96-A3EB-7967E04D58DF}" dt="2024-07-29T18:56:27.714" v="5025" actId="47"/>
        <pc:sldMkLst>
          <pc:docMk/>
          <pc:sldMk cId="1104917324" sldId="2147376431"/>
        </pc:sldMkLst>
        <pc:picChg chg="del">
          <ac:chgData name="Jones, Warren F" userId="22f695b8-5c5a-4b0c-96dd-2a415f78785d" providerId="ADAL" clId="{F7FE9781-97F5-4C96-A3EB-7967E04D58DF}" dt="2024-07-29T18:32:58.379" v="3058" actId="478"/>
          <ac:picMkLst>
            <pc:docMk/>
            <pc:sldMk cId="1104917324" sldId="2147376431"/>
            <ac:picMk id="5" creationId="{F920745C-8F9F-9CC0-1339-8AB27C12099C}"/>
          </ac:picMkLst>
        </pc:picChg>
        <pc:picChg chg="add mod">
          <ac:chgData name="Jones, Warren F" userId="22f695b8-5c5a-4b0c-96dd-2a415f78785d" providerId="ADAL" clId="{F7FE9781-97F5-4C96-A3EB-7967E04D58DF}" dt="2024-07-29T18:32:56.746" v="3057"/>
          <ac:picMkLst>
            <pc:docMk/>
            <pc:sldMk cId="1104917324" sldId="2147376431"/>
            <ac:picMk id="6" creationId="{F13921F6-61CE-C5F2-F7C4-FE5C8CAA3BA5}"/>
          </ac:picMkLst>
        </pc:picChg>
      </pc:sldChg>
      <pc:sldChg chg="modSp del mod">
        <pc:chgData name="Jones, Warren F" userId="22f695b8-5c5a-4b0c-96dd-2a415f78785d" providerId="ADAL" clId="{F7FE9781-97F5-4C96-A3EB-7967E04D58DF}" dt="2024-07-29T18:56:10.973" v="5022" actId="47"/>
        <pc:sldMkLst>
          <pc:docMk/>
          <pc:sldMk cId="2653442884" sldId="2147376432"/>
        </pc:sldMkLst>
        <pc:spChg chg="mod">
          <ac:chgData name="Jones, Warren F" userId="22f695b8-5c5a-4b0c-96dd-2a415f78785d" providerId="ADAL" clId="{F7FE9781-97F5-4C96-A3EB-7967E04D58DF}" dt="2024-07-29T17:38:11.665" v="0" actId="20577"/>
          <ac:spMkLst>
            <pc:docMk/>
            <pc:sldMk cId="2653442884" sldId="2147376432"/>
            <ac:spMk id="3" creationId="{2465C938-AC5C-535F-BFC7-72AFBB760ED7}"/>
          </ac:spMkLst>
        </pc:spChg>
      </pc:sldChg>
      <pc:sldChg chg="modSp del mod">
        <pc:chgData name="Jones, Warren F" userId="22f695b8-5c5a-4b0c-96dd-2a415f78785d" providerId="ADAL" clId="{F7FE9781-97F5-4C96-A3EB-7967E04D58DF}" dt="2024-07-29T18:17:54.107" v="2592" actId="47"/>
        <pc:sldMkLst>
          <pc:docMk/>
          <pc:sldMk cId="3561143883" sldId="2147376433"/>
        </pc:sldMkLst>
        <pc:spChg chg="mod">
          <ac:chgData name="Jones, Warren F" userId="22f695b8-5c5a-4b0c-96dd-2a415f78785d" providerId="ADAL" clId="{F7FE9781-97F5-4C96-A3EB-7967E04D58DF}" dt="2024-07-29T18:10:00.411" v="1682" actId="1076"/>
          <ac:spMkLst>
            <pc:docMk/>
            <pc:sldMk cId="3561143883" sldId="2147376433"/>
            <ac:spMk id="3" creationId="{2EE562AD-A92B-0342-7FA5-96CD487753D7}"/>
          </ac:spMkLst>
        </pc:spChg>
      </pc:sldChg>
      <pc:sldChg chg="addSp delSp modSp mod">
        <pc:chgData name="Jones, Warren F" userId="22f695b8-5c5a-4b0c-96dd-2a415f78785d" providerId="ADAL" clId="{F7FE9781-97F5-4C96-A3EB-7967E04D58DF}" dt="2024-07-29T18:56:04.574" v="5021" actId="14100"/>
        <pc:sldMkLst>
          <pc:docMk/>
          <pc:sldMk cId="1215144428" sldId="2147376434"/>
        </pc:sldMkLst>
        <pc:spChg chg="del mod">
          <ac:chgData name="Jones, Warren F" userId="22f695b8-5c5a-4b0c-96dd-2a415f78785d" providerId="ADAL" clId="{F7FE9781-97F5-4C96-A3EB-7967E04D58DF}" dt="2024-07-29T18:10:43.408" v="1685" actId="478"/>
          <ac:spMkLst>
            <pc:docMk/>
            <pc:sldMk cId="1215144428" sldId="2147376434"/>
            <ac:spMk id="8" creationId="{B86199BC-24A6-E07F-4AE8-835580E3EB05}"/>
          </ac:spMkLst>
        </pc:spChg>
        <pc:spChg chg="del">
          <ac:chgData name="Jones, Warren F" userId="22f695b8-5c5a-4b0c-96dd-2a415f78785d" providerId="ADAL" clId="{F7FE9781-97F5-4C96-A3EB-7967E04D58DF}" dt="2024-07-29T18:10:52.254" v="1687" actId="478"/>
          <ac:spMkLst>
            <pc:docMk/>
            <pc:sldMk cId="1215144428" sldId="2147376434"/>
            <ac:spMk id="9" creationId="{6346A4AF-89A3-F3D9-2F91-38BC1815AE86}"/>
          </ac:spMkLst>
        </pc:spChg>
        <pc:spChg chg="del">
          <ac:chgData name="Jones, Warren F" userId="22f695b8-5c5a-4b0c-96dd-2a415f78785d" providerId="ADAL" clId="{F7FE9781-97F5-4C96-A3EB-7967E04D58DF}" dt="2024-07-29T18:10:53.064" v="1688" actId="478"/>
          <ac:spMkLst>
            <pc:docMk/>
            <pc:sldMk cId="1215144428" sldId="2147376434"/>
            <ac:spMk id="10" creationId="{6D1D2AC2-DDC3-9576-0F96-AE55CB2924DE}"/>
          </ac:spMkLst>
        </pc:spChg>
        <pc:spChg chg="add del mod">
          <ac:chgData name="Jones, Warren F" userId="22f695b8-5c5a-4b0c-96dd-2a415f78785d" providerId="ADAL" clId="{F7FE9781-97F5-4C96-A3EB-7967E04D58DF}" dt="2024-07-29T18:17:08.444" v="2569" actId="478"/>
          <ac:spMkLst>
            <pc:docMk/>
            <pc:sldMk cId="1215144428" sldId="2147376434"/>
            <ac:spMk id="12" creationId="{3EDD064E-E5EA-B4E5-DFAB-206D104F7CBD}"/>
          </ac:spMkLst>
        </pc:spChg>
        <pc:spChg chg="add mod">
          <ac:chgData name="Jones, Warren F" userId="22f695b8-5c5a-4b0c-96dd-2a415f78785d" providerId="ADAL" clId="{F7FE9781-97F5-4C96-A3EB-7967E04D58DF}" dt="2024-07-29T18:15:22.379" v="2448" actId="20577"/>
          <ac:spMkLst>
            <pc:docMk/>
            <pc:sldMk cId="1215144428" sldId="2147376434"/>
            <ac:spMk id="13" creationId="{E542CF5D-D9CE-C8A2-0C82-6E95115FCD50}"/>
          </ac:spMkLst>
        </pc:spChg>
        <pc:spChg chg="add mod">
          <ac:chgData name="Jones, Warren F" userId="22f695b8-5c5a-4b0c-96dd-2a415f78785d" providerId="ADAL" clId="{F7FE9781-97F5-4C96-A3EB-7967E04D58DF}" dt="2024-07-29T18:56:04.574" v="5021" actId="14100"/>
          <ac:spMkLst>
            <pc:docMk/>
            <pc:sldMk cId="1215144428" sldId="2147376434"/>
            <ac:spMk id="14" creationId="{9D45F922-9163-59AF-2C37-9AD0B1C73BA1}"/>
          </ac:spMkLst>
        </pc:spChg>
        <pc:spChg chg="add mod">
          <ac:chgData name="Jones, Warren F" userId="22f695b8-5c5a-4b0c-96dd-2a415f78785d" providerId="ADAL" clId="{F7FE9781-97F5-4C96-A3EB-7967E04D58DF}" dt="2024-07-29T18:16:58.336" v="2565" actId="1076"/>
          <ac:spMkLst>
            <pc:docMk/>
            <pc:sldMk cId="1215144428" sldId="2147376434"/>
            <ac:spMk id="15" creationId="{63F1E336-07E5-7551-A5ED-B14BA0E5DCA3}"/>
          </ac:spMkLst>
        </pc:spChg>
        <pc:spChg chg="add mod">
          <ac:chgData name="Jones, Warren F" userId="22f695b8-5c5a-4b0c-96dd-2a415f78785d" providerId="ADAL" clId="{F7FE9781-97F5-4C96-A3EB-7967E04D58DF}" dt="2024-07-29T18:30:06.586" v="2939" actId="12"/>
          <ac:spMkLst>
            <pc:docMk/>
            <pc:sldMk cId="1215144428" sldId="2147376434"/>
            <ac:spMk id="16" creationId="{2787391A-E2A7-FCCB-FE4A-3CB4C4A26C43}"/>
          </ac:spMkLst>
        </pc:spChg>
        <pc:spChg chg="add mod">
          <ac:chgData name="Jones, Warren F" userId="22f695b8-5c5a-4b0c-96dd-2a415f78785d" providerId="ADAL" clId="{F7FE9781-97F5-4C96-A3EB-7967E04D58DF}" dt="2024-07-29T18:30:10.342" v="2940" actId="1076"/>
          <ac:spMkLst>
            <pc:docMk/>
            <pc:sldMk cId="1215144428" sldId="2147376434"/>
            <ac:spMk id="17" creationId="{3619835B-F81A-126A-A917-23B23A891373}"/>
          </ac:spMkLst>
        </pc:spChg>
        <pc:picChg chg="del mod">
          <ac:chgData name="Jones, Warren F" userId="22f695b8-5c5a-4b0c-96dd-2a415f78785d" providerId="ADAL" clId="{F7FE9781-97F5-4C96-A3EB-7967E04D58DF}" dt="2024-07-29T18:32:38.864" v="3047" actId="478"/>
          <ac:picMkLst>
            <pc:docMk/>
            <pc:sldMk cId="1215144428" sldId="2147376434"/>
            <ac:picMk id="5" creationId="{273B73C6-51EF-3713-06AA-5C5AAED51BF8}"/>
          </ac:picMkLst>
        </pc:picChg>
        <pc:picChg chg="add mod">
          <ac:chgData name="Jones, Warren F" userId="22f695b8-5c5a-4b0c-96dd-2a415f78785d" providerId="ADAL" clId="{F7FE9781-97F5-4C96-A3EB-7967E04D58DF}" dt="2024-07-29T18:32:39.088" v="3048"/>
          <ac:picMkLst>
            <pc:docMk/>
            <pc:sldMk cId="1215144428" sldId="2147376434"/>
            <ac:picMk id="18" creationId="{3351D871-2839-1CE5-A56A-797DBC86CC93}"/>
          </ac:picMkLst>
        </pc:picChg>
      </pc:sldChg>
      <pc:sldChg chg="del">
        <pc:chgData name="Jones, Warren F" userId="22f695b8-5c5a-4b0c-96dd-2a415f78785d" providerId="ADAL" clId="{F7FE9781-97F5-4C96-A3EB-7967E04D58DF}" dt="2024-07-29T18:23:32.672" v="2679" actId="47"/>
        <pc:sldMkLst>
          <pc:docMk/>
          <pc:sldMk cId="3564267983" sldId="2147376435"/>
        </pc:sldMkLst>
      </pc:sldChg>
      <pc:sldChg chg="addSp delSp modSp del mod">
        <pc:chgData name="Jones, Warren F" userId="22f695b8-5c5a-4b0c-96dd-2a415f78785d" providerId="ADAL" clId="{F7FE9781-97F5-4C96-A3EB-7967E04D58DF}" dt="2024-07-29T18:34:15.932" v="3126" actId="47"/>
        <pc:sldMkLst>
          <pc:docMk/>
          <pc:sldMk cId="3333738257" sldId="2147376436"/>
        </pc:sldMkLst>
        <pc:spChg chg="del">
          <ac:chgData name="Jones, Warren F" userId="22f695b8-5c5a-4b0c-96dd-2a415f78785d" providerId="ADAL" clId="{F7FE9781-97F5-4C96-A3EB-7967E04D58DF}" dt="2024-07-29T18:30:19.927" v="2942" actId="478"/>
          <ac:spMkLst>
            <pc:docMk/>
            <pc:sldMk cId="3333738257" sldId="2147376436"/>
            <ac:spMk id="6" creationId="{830EC95B-BC05-AE8F-C436-93EFAD1318E0}"/>
          </ac:spMkLst>
        </pc:spChg>
        <pc:spChg chg="del">
          <ac:chgData name="Jones, Warren F" userId="22f695b8-5c5a-4b0c-96dd-2a415f78785d" providerId="ADAL" clId="{F7FE9781-97F5-4C96-A3EB-7967E04D58DF}" dt="2024-07-29T18:30:18.900" v="2941" actId="478"/>
          <ac:spMkLst>
            <pc:docMk/>
            <pc:sldMk cId="3333738257" sldId="2147376436"/>
            <ac:spMk id="11" creationId="{CA5D0571-5E14-C937-C927-EBF034DDBB4F}"/>
          </ac:spMkLst>
        </pc:spChg>
        <pc:spChg chg="mod">
          <ac:chgData name="Jones, Warren F" userId="22f695b8-5c5a-4b0c-96dd-2a415f78785d" providerId="ADAL" clId="{F7FE9781-97F5-4C96-A3EB-7967E04D58DF}" dt="2024-07-29T18:30:24.044" v="2943" actId="1076"/>
          <ac:spMkLst>
            <pc:docMk/>
            <pc:sldMk cId="3333738257" sldId="2147376436"/>
            <ac:spMk id="13" creationId="{D9A47F8F-896F-E648-D4EF-B3EC32AC0A79}"/>
          </ac:spMkLst>
        </pc:spChg>
        <pc:picChg chg="del">
          <ac:chgData name="Jones, Warren F" userId="22f695b8-5c5a-4b0c-96dd-2a415f78785d" providerId="ADAL" clId="{F7FE9781-97F5-4C96-A3EB-7967E04D58DF}" dt="2024-07-29T18:32:44.293" v="3051" actId="478"/>
          <ac:picMkLst>
            <pc:docMk/>
            <pc:sldMk cId="3333738257" sldId="2147376436"/>
            <ac:picMk id="5" creationId="{273B73C6-51EF-3713-06AA-5C5AAED51BF8}"/>
          </ac:picMkLst>
        </pc:picChg>
        <pc:picChg chg="add mod">
          <ac:chgData name="Jones, Warren F" userId="22f695b8-5c5a-4b0c-96dd-2a415f78785d" providerId="ADAL" clId="{F7FE9781-97F5-4C96-A3EB-7967E04D58DF}" dt="2024-07-29T18:32:44.540" v="3052"/>
          <ac:picMkLst>
            <pc:docMk/>
            <pc:sldMk cId="3333738257" sldId="2147376436"/>
            <ac:picMk id="12" creationId="{CF5A3FE0-4FCA-B034-90D4-312888F8F324}"/>
          </ac:picMkLst>
        </pc:picChg>
      </pc:sldChg>
      <pc:sldChg chg="addSp delSp modSp del mod">
        <pc:chgData name="Jones, Warren F" userId="22f695b8-5c5a-4b0c-96dd-2a415f78785d" providerId="ADAL" clId="{F7FE9781-97F5-4C96-A3EB-7967E04D58DF}" dt="2024-07-29T18:39:57.554" v="3643" actId="47"/>
        <pc:sldMkLst>
          <pc:docMk/>
          <pc:sldMk cId="2144153030" sldId="2147376437"/>
        </pc:sldMkLst>
        <pc:spChg chg="mod">
          <ac:chgData name="Jones, Warren F" userId="22f695b8-5c5a-4b0c-96dd-2a415f78785d" providerId="ADAL" clId="{F7FE9781-97F5-4C96-A3EB-7967E04D58DF}" dt="2024-07-29T18:37:59.735" v="3420" actId="21"/>
          <ac:spMkLst>
            <pc:docMk/>
            <pc:sldMk cId="2144153030" sldId="2147376437"/>
            <ac:spMk id="3" creationId="{74CBA677-AADA-2B19-D40A-1BFCF8668046}"/>
          </ac:spMkLst>
        </pc:spChg>
        <pc:spChg chg="del">
          <ac:chgData name="Jones, Warren F" userId="22f695b8-5c5a-4b0c-96dd-2a415f78785d" providerId="ADAL" clId="{F7FE9781-97F5-4C96-A3EB-7967E04D58DF}" dt="2024-07-29T18:35:50.985" v="3197" actId="21"/>
          <ac:spMkLst>
            <pc:docMk/>
            <pc:sldMk cId="2144153030" sldId="2147376437"/>
            <ac:spMk id="4" creationId="{32D3ED49-2246-D94C-F5E4-DAA97B2BA431}"/>
          </ac:spMkLst>
        </pc:spChg>
        <pc:spChg chg="mod">
          <ac:chgData name="Jones, Warren F" userId="22f695b8-5c5a-4b0c-96dd-2a415f78785d" providerId="ADAL" clId="{F7FE9781-97F5-4C96-A3EB-7967E04D58DF}" dt="2024-07-29T18:39:40.905" v="3634" actId="21"/>
          <ac:spMkLst>
            <pc:docMk/>
            <pc:sldMk cId="2144153030" sldId="2147376437"/>
            <ac:spMk id="8" creationId="{CCE2C726-F77F-80D9-7A74-F19BEEB731A3}"/>
          </ac:spMkLst>
        </pc:spChg>
        <pc:spChg chg="del mod">
          <ac:chgData name="Jones, Warren F" userId="22f695b8-5c5a-4b0c-96dd-2a415f78785d" providerId="ADAL" clId="{F7FE9781-97F5-4C96-A3EB-7967E04D58DF}" dt="2024-07-29T18:34:33.386" v="3131"/>
          <ac:spMkLst>
            <pc:docMk/>
            <pc:sldMk cId="2144153030" sldId="2147376437"/>
            <ac:spMk id="11" creationId="{CA5D0571-5E14-C937-C927-EBF034DDBB4F}"/>
          </ac:spMkLst>
        </pc:spChg>
        <pc:picChg chg="del">
          <ac:chgData name="Jones, Warren F" userId="22f695b8-5c5a-4b0c-96dd-2a415f78785d" providerId="ADAL" clId="{F7FE9781-97F5-4C96-A3EB-7967E04D58DF}" dt="2024-07-29T18:32:53.680" v="3054" actId="478"/>
          <ac:picMkLst>
            <pc:docMk/>
            <pc:sldMk cId="2144153030" sldId="2147376437"/>
            <ac:picMk id="5" creationId="{273B73C6-51EF-3713-06AA-5C5AAED51BF8}"/>
          </ac:picMkLst>
        </pc:picChg>
        <pc:picChg chg="add mod">
          <ac:chgData name="Jones, Warren F" userId="22f695b8-5c5a-4b0c-96dd-2a415f78785d" providerId="ADAL" clId="{F7FE9781-97F5-4C96-A3EB-7967E04D58DF}" dt="2024-07-29T18:32:53.919" v="3055"/>
          <ac:picMkLst>
            <pc:docMk/>
            <pc:sldMk cId="2144153030" sldId="2147376437"/>
            <ac:picMk id="7" creationId="{F9747A33-24BB-F5CD-860B-25CF4F7FC4D3}"/>
          </ac:picMkLst>
        </pc:picChg>
      </pc:sldChg>
      <pc:sldChg chg="addSp modSp del">
        <pc:chgData name="Jones, Warren F" userId="22f695b8-5c5a-4b0c-96dd-2a415f78785d" providerId="ADAL" clId="{F7FE9781-97F5-4C96-A3EB-7967E04D58DF}" dt="2024-07-29T19:01:33.577" v="5933" actId="47"/>
        <pc:sldMkLst>
          <pc:docMk/>
          <pc:sldMk cId="3608159738" sldId="2147376438"/>
        </pc:sldMkLst>
        <pc:picChg chg="add mod">
          <ac:chgData name="Jones, Warren F" userId="22f695b8-5c5a-4b0c-96dd-2a415f78785d" providerId="ADAL" clId="{F7FE9781-97F5-4C96-A3EB-7967E04D58DF}" dt="2024-07-29T18:32:55.616" v="3056"/>
          <ac:picMkLst>
            <pc:docMk/>
            <pc:sldMk cId="3608159738" sldId="2147376438"/>
            <ac:picMk id="13" creationId="{966726FE-3BDE-6BAF-8B2B-4520E87301CB}"/>
          </ac:picMkLst>
        </pc:picChg>
      </pc:sldChg>
      <pc:sldChg chg="addSp delSp modSp add mod">
        <pc:chgData name="Jones, Warren F" userId="22f695b8-5c5a-4b0c-96dd-2a415f78785d" providerId="ADAL" clId="{F7FE9781-97F5-4C96-A3EB-7967E04D58DF}" dt="2024-07-29T20:36:33.480" v="6219" actId="113"/>
        <pc:sldMkLst>
          <pc:docMk/>
          <pc:sldMk cId="1195078608" sldId="2147376439"/>
        </pc:sldMkLst>
        <pc:spChg chg="add mod">
          <ac:chgData name="Jones, Warren F" userId="22f695b8-5c5a-4b0c-96dd-2a415f78785d" providerId="ADAL" clId="{F7FE9781-97F5-4C96-A3EB-7967E04D58DF}" dt="2024-07-29T20:36:33.480" v="6219" actId="113"/>
          <ac:spMkLst>
            <pc:docMk/>
            <pc:sldMk cId="1195078608" sldId="2147376439"/>
            <ac:spMk id="3" creationId="{9ABBFA82-7E6B-7F1B-1829-AD27D447D873}"/>
          </ac:spMkLst>
        </pc:spChg>
        <pc:spChg chg="mod">
          <ac:chgData name="Jones, Warren F" userId="22f695b8-5c5a-4b0c-96dd-2a415f78785d" providerId="ADAL" clId="{F7FE9781-97F5-4C96-A3EB-7967E04D58DF}" dt="2024-07-29T18:47:39.802" v="4525" actId="20577"/>
          <ac:spMkLst>
            <pc:docMk/>
            <pc:sldMk cId="1195078608" sldId="2147376439"/>
            <ac:spMk id="13" creationId="{E542CF5D-D9CE-C8A2-0C82-6E95115FCD50}"/>
          </ac:spMkLst>
        </pc:spChg>
        <pc:spChg chg="mod">
          <ac:chgData name="Jones, Warren F" userId="22f695b8-5c5a-4b0c-96dd-2a415f78785d" providerId="ADAL" clId="{F7FE9781-97F5-4C96-A3EB-7967E04D58DF}" dt="2024-07-29T18:44:55.994" v="4400" actId="6549"/>
          <ac:spMkLst>
            <pc:docMk/>
            <pc:sldMk cId="1195078608" sldId="2147376439"/>
            <ac:spMk id="14" creationId="{9D45F922-9163-59AF-2C37-9AD0B1C73BA1}"/>
          </ac:spMkLst>
        </pc:spChg>
        <pc:spChg chg="mod">
          <ac:chgData name="Jones, Warren F" userId="22f695b8-5c5a-4b0c-96dd-2a415f78785d" providerId="ADAL" clId="{F7FE9781-97F5-4C96-A3EB-7967E04D58DF}" dt="2024-07-29T18:35:02.375" v="3180" actId="2711"/>
          <ac:spMkLst>
            <pc:docMk/>
            <pc:sldMk cId="1195078608" sldId="2147376439"/>
            <ac:spMk id="16" creationId="{2787391A-E2A7-FCCB-FE4A-3CB4C4A26C43}"/>
          </ac:spMkLst>
        </pc:spChg>
        <pc:picChg chg="add mod">
          <ac:chgData name="Jones, Warren F" userId="22f695b8-5c5a-4b0c-96dd-2a415f78785d" providerId="ADAL" clId="{F7FE9781-97F5-4C96-A3EB-7967E04D58DF}" dt="2024-07-29T18:32:41.653" v="3050"/>
          <ac:picMkLst>
            <pc:docMk/>
            <pc:sldMk cId="1195078608" sldId="2147376439"/>
            <ac:picMk id="4" creationId="{C82BAC07-19FE-FC27-C47D-CFB6BEDCE4A5}"/>
          </ac:picMkLst>
        </pc:picChg>
        <pc:picChg chg="del">
          <ac:chgData name="Jones, Warren F" userId="22f695b8-5c5a-4b0c-96dd-2a415f78785d" providerId="ADAL" clId="{F7FE9781-97F5-4C96-A3EB-7967E04D58DF}" dt="2024-07-29T18:32:41.492" v="3049" actId="478"/>
          <ac:picMkLst>
            <pc:docMk/>
            <pc:sldMk cId="1195078608" sldId="2147376439"/>
            <ac:picMk id="5" creationId="{273B73C6-51EF-3713-06AA-5C5AAED51BF8}"/>
          </ac:picMkLst>
        </pc:picChg>
      </pc:sldChg>
      <pc:sldChg chg="addSp delSp modSp add mod">
        <pc:chgData name="Jones, Warren F" userId="22f695b8-5c5a-4b0c-96dd-2a415f78785d" providerId="ADAL" clId="{F7FE9781-97F5-4C96-A3EB-7967E04D58DF}" dt="2024-07-29T18:52:06.464" v="4882"/>
        <pc:sldMkLst>
          <pc:docMk/>
          <pc:sldMk cId="997726352" sldId="2147376440"/>
        </pc:sldMkLst>
        <pc:spChg chg="del">
          <ac:chgData name="Jones, Warren F" userId="22f695b8-5c5a-4b0c-96dd-2a415f78785d" providerId="ADAL" clId="{F7FE9781-97F5-4C96-A3EB-7967E04D58DF}" dt="2024-07-29T18:35:35.642" v="3195" actId="478"/>
          <ac:spMkLst>
            <pc:docMk/>
            <pc:sldMk cId="997726352" sldId="2147376440"/>
            <ac:spMk id="3" creationId="{9ABBFA82-7E6B-7F1B-1829-AD27D447D873}"/>
          </ac:spMkLst>
        </pc:spChg>
        <pc:spChg chg="add mod">
          <ac:chgData name="Jones, Warren F" userId="22f695b8-5c5a-4b0c-96dd-2a415f78785d" providerId="ADAL" clId="{F7FE9781-97F5-4C96-A3EB-7967E04D58DF}" dt="2024-07-29T18:43:28.273" v="4235" actId="20577"/>
          <ac:spMkLst>
            <pc:docMk/>
            <pc:sldMk cId="997726352" sldId="2147376440"/>
            <ac:spMk id="5" creationId="{2D2FF39E-BB65-FF10-9114-B0E169176706}"/>
          </ac:spMkLst>
        </pc:spChg>
        <pc:spChg chg="add mod">
          <ac:chgData name="Jones, Warren F" userId="22f695b8-5c5a-4b0c-96dd-2a415f78785d" providerId="ADAL" clId="{F7FE9781-97F5-4C96-A3EB-7967E04D58DF}" dt="2024-07-29T18:39:55.850" v="3642" actId="1076"/>
          <ac:spMkLst>
            <pc:docMk/>
            <pc:sldMk cId="997726352" sldId="2147376440"/>
            <ac:spMk id="6" creationId="{32D3ED49-2246-D94C-F5E4-DAA97B2BA431}"/>
          </ac:spMkLst>
        </pc:spChg>
        <pc:spChg chg="mod">
          <ac:chgData name="Jones, Warren F" userId="22f695b8-5c5a-4b0c-96dd-2a415f78785d" providerId="ADAL" clId="{F7FE9781-97F5-4C96-A3EB-7967E04D58DF}" dt="2024-07-29T18:52:06.464" v="4882"/>
          <ac:spMkLst>
            <pc:docMk/>
            <pc:sldMk cId="997726352" sldId="2147376440"/>
            <ac:spMk id="13" creationId="{E542CF5D-D9CE-C8A2-0C82-6E95115FCD50}"/>
          </ac:spMkLst>
        </pc:spChg>
        <pc:spChg chg="del">
          <ac:chgData name="Jones, Warren F" userId="22f695b8-5c5a-4b0c-96dd-2a415f78785d" providerId="ADAL" clId="{F7FE9781-97F5-4C96-A3EB-7967E04D58DF}" dt="2024-07-29T18:35:35.642" v="3195" actId="478"/>
          <ac:spMkLst>
            <pc:docMk/>
            <pc:sldMk cId="997726352" sldId="2147376440"/>
            <ac:spMk id="14" creationId="{9D45F922-9163-59AF-2C37-9AD0B1C73BA1}"/>
          </ac:spMkLst>
        </pc:spChg>
        <pc:spChg chg="mod">
          <ac:chgData name="Jones, Warren F" userId="22f695b8-5c5a-4b0c-96dd-2a415f78785d" providerId="ADAL" clId="{F7FE9781-97F5-4C96-A3EB-7967E04D58DF}" dt="2024-07-29T18:51:54.164" v="4874" actId="20577"/>
          <ac:spMkLst>
            <pc:docMk/>
            <pc:sldMk cId="997726352" sldId="2147376440"/>
            <ac:spMk id="16" creationId="{2787391A-E2A7-FCCB-FE4A-3CB4C4A26C43}"/>
          </ac:spMkLst>
        </pc:spChg>
      </pc:sldChg>
      <pc:sldChg chg="addSp delSp modSp add mod">
        <pc:chgData name="Jones, Warren F" userId="22f695b8-5c5a-4b0c-96dd-2a415f78785d" providerId="ADAL" clId="{F7FE9781-97F5-4C96-A3EB-7967E04D58DF}" dt="2024-07-29T19:12:23.076" v="6213" actId="14100"/>
        <pc:sldMkLst>
          <pc:docMk/>
          <pc:sldMk cId="2751471922" sldId="2147376441"/>
        </pc:sldMkLst>
        <pc:spChg chg="del">
          <ac:chgData name="Jones, Warren F" userId="22f695b8-5c5a-4b0c-96dd-2a415f78785d" providerId="ADAL" clId="{F7FE9781-97F5-4C96-A3EB-7967E04D58DF}" dt="2024-07-29T18:52:36.658" v="4887" actId="478"/>
          <ac:spMkLst>
            <pc:docMk/>
            <pc:sldMk cId="2751471922" sldId="2147376441"/>
            <ac:spMk id="5" creationId="{2D2FF39E-BB65-FF10-9114-B0E169176706}"/>
          </ac:spMkLst>
        </pc:spChg>
        <pc:spChg chg="del">
          <ac:chgData name="Jones, Warren F" userId="22f695b8-5c5a-4b0c-96dd-2a415f78785d" providerId="ADAL" clId="{F7FE9781-97F5-4C96-A3EB-7967E04D58DF}" dt="2024-07-29T18:52:27.435" v="4884" actId="478"/>
          <ac:spMkLst>
            <pc:docMk/>
            <pc:sldMk cId="2751471922" sldId="2147376441"/>
            <ac:spMk id="6" creationId="{32D3ED49-2246-D94C-F5E4-DAA97B2BA431}"/>
          </ac:spMkLst>
        </pc:spChg>
        <pc:spChg chg="add mod">
          <ac:chgData name="Jones, Warren F" userId="22f695b8-5c5a-4b0c-96dd-2a415f78785d" providerId="ADAL" clId="{F7FE9781-97F5-4C96-A3EB-7967E04D58DF}" dt="2024-07-29T19:05:00.257" v="6112" actId="1038"/>
          <ac:spMkLst>
            <pc:docMk/>
            <pc:sldMk cId="2751471922" sldId="2147376441"/>
            <ac:spMk id="8" creationId="{60446A03-6C6D-5464-08D8-37363E9DE7F7}"/>
          </ac:spMkLst>
        </pc:spChg>
        <pc:spChg chg="add mod">
          <ac:chgData name="Jones, Warren F" userId="22f695b8-5c5a-4b0c-96dd-2a415f78785d" providerId="ADAL" clId="{F7FE9781-97F5-4C96-A3EB-7967E04D58DF}" dt="2024-07-29T19:05:00.257" v="6112" actId="1038"/>
          <ac:spMkLst>
            <pc:docMk/>
            <pc:sldMk cId="2751471922" sldId="2147376441"/>
            <ac:spMk id="9" creationId="{319868B6-695B-638A-EA6E-398AC90BC4DA}"/>
          </ac:spMkLst>
        </pc:spChg>
        <pc:spChg chg="add del mod">
          <ac:chgData name="Jones, Warren F" userId="22f695b8-5c5a-4b0c-96dd-2a415f78785d" providerId="ADAL" clId="{F7FE9781-97F5-4C96-A3EB-7967E04D58DF}" dt="2024-07-29T18:53:47.412" v="4930" actId="478"/>
          <ac:spMkLst>
            <pc:docMk/>
            <pc:sldMk cId="2751471922" sldId="2147376441"/>
            <ac:spMk id="10" creationId="{A53C6E5B-9935-B7A9-4338-CE28C209102F}"/>
          </ac:spMkLst>
        </pc:spChg>
        <pc:spChg chg="add del mod">
          <ac:chgData name="Jones, Warren F" userId="22f695b8-5c5a-4b0c-96dd-2a415f78785d" providerId="ADAL" clId="{F7FE9781-97F5-4C96-A3EB-7967E04D58DF}" dt="2024-07-29T18:53:47.412" v="4930" actId="478"/>
          <ac:spMkLst>
            <pc:docMk/>
            <pc:sldMk cId="2751471922" sldId="2147376441"/>
            <ac:spMk id="11" creationId="{2C1C7F8C-2352-1CE6-9BFC-169DB7C968EF}"/>
          </ac:spMkLst>
        </pc:spChg>
        <pc:spChg chg="add del mod">
          <ac:chgData name="Jones, Warren F" userId="22f695b8-5c5a-4b0c-96dd-2a415f78785d" providerId="ADAL" clId="{F7FE9781-97F5-4C96-A3EB-7967E04D58DF}" dt="2024-07-29T18:53:47.412" v="4930" actId="478"/>
          <ac:spMkLst>
            <pc:docMk/>
            <pc:sldMk cId="2751471922" sldId="2147376441"/>
            <ac:spMk id="12" creationId="{1B789698-3464-7D10-DC00-7B26B718C86E}"/>
          </ac:spMkLst>
        </pc:spChg>
        <pc:spChg chg="del">
          <ac:chgData name="Jones, Warren F" userId="22f695b8-5c5a-4b0c-96dd-2a415f78785d" providerId="ADAL" clId="{F7FE9781-97F5-4C96-A3EB-7967E04D58DF}" dt="2024-07-29T19:04:34.481" v="6075" actId="478"/>
          <ac:spMkLst>
            <pc:docMk/>
            <pc:sldMk cId="2751471922" sldId="2147376441"/>
            <ac:spMk id="13" creationId="{E542CF5D-D9CE-C8A2-0C82-6E95115FCD50}"/>
          </ac:spMkLst>
        </pc:spChg>
        <pc:spChg chg="add mod ord">
          <ac:chgData name="Jones, Warren F" userId="22f695b8-5c5a-4b0c-96dd-2a415f78785d" providerId="ADAL" clId="{F7FE9781-97F5-4C96-A3EB-7967E04D58DF}" dt="2024-07-29T19:04:54.904" v="6101" actId="14100"/>
          <ac:spMkLst>
            <pc:docMk/>
            <pc:sldMk cId="2751471922" sldId="2147376441"/>
            <ac:spMk id="14" creationId="{C32021C7-16B0-45E0-4FA6-B2EF6D2258FB}"/>
          </ac:spMkLst>
        </pc:spChg>
        <pc:spChg chg="mod">
          <ac:chgData name="Jones, Warren F" userId="22f695b8-5c5a-4b0c-96dd-2a415f78785d" providerId="ADAL" clId="{F7FE9781-97F5-4C96-A3EB-7967E04D58DF}" dt="2024-07-29T19:12:23.076" v="6213" actId="14100"/>
          <ac:spMkLst>
            <pc:docMk/>
            <pc:sldMk cId="2751471922" sldId="2147376441"/>
            <ac:spMk id="16" creationId="{2787391A-E2A7-FCCB-FE4A-3CB4C4A26C43}"/>
          </ac:spMkLst>
        </pc:spChg>
        <pc:picChg chg="add mod">
          <ac:chgData name="Jones, Warren F" userId="22f695b8-5c5a-4b0c-96dd-2a415f78785d" providerId="ADAL" clId="{F7FE9781-97F5-4C96-A3EB-7967E04D58DF}" dt="2024-07-29T19:05:00.257" v="6112" actId="1038"/>
          <ac:picMkLst>
            <pc:docMk/>
            <pc:sldMk cId="2751471922" sldId="2147376441"/>
            <ac:picMk id="3" creationId="{61B7A494-03EF-996E-3CE8-BB2A2011D8A7}"/>
          </ac:picMkLst>
        </pc:picChg>
        <pc:picChg chg="add mod">
          <ac:chgData name="Jones, Warren F" userId="22f695b8-5c5a-4b0c-96dd-2a415f78785d" providerId="ADAL" clId="{F7FE9781-97F5-4C96-A3EB-7967E04D58DF}" dt="2024-07-29T19:05:00.257" v="6112" actId="1038"/>
          <ac:picMkLst>
            <pc:docMk/>
            <pc:sldMk cId="2751471922" sldId="2147376441"/>
            <ac:picMk id="7" creationId="{3FF37E0E-DCBB-2DA8-BFBF-96928850C01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CCBF3E-FD76-41F2-94BE-9B8FFE2571BF}" type="datetimeFigureOut">
              <a:rPr lang="en-US" smtClean="0"/>
              <a:t>9/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8EB15B-03AF-42B4-B9DA-9A3963DC5EBA}" type="slidenum">
              <a:rPr lang="en-US" smtClean="0"/>
              <a:t>‹#›</a:t>
            </a:fld>
            <a:endParaRPr lang="en-US" dirty="0"/>
          </a:p>
        </p:txBody>
      </p:sp>
    </p:spTree>
    <p:extLst>
      <p:ext uri="{BB962C8B-B14F-4D97-AF65-F5344CB8AC3E}">
        <p14:creationId xmlns:p14="http://schemas.microsoft.com/office/powerpoint/2010/main" val="1095080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8EB15B-03AF-42B4-B9DA-9A3963DC5EBA}" type="slidenum">
              <a:rPr lang="en-US" smtClean="0"/>
              <a:t>2</a:t>
            </a:fld>
            <a:endParaRPr lang="en-US" dirty="0"/>
          </a:p>
        </p:txBody>
      </p:sp>
    </p:spTree>
    <p:extLst>
      <p:ext uri="{BB962C8B-B14F-4D97-AF65-F5344CB8AC3E}">
        <p14:creationId xmlns:p14="http://schemas.microsoft.com/office/powerpoint/2010/main" val="3653309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8EB15B-03AF-42B4-B9DA-9A3963DC5EBA}" type="slidenum">
              <a:rPr lang="en-US" smtClean="0"/>
              <a:t>3</a:t>
            </a:fld>
            <a:endParaRPr lang="en-US" dirty="0"/>
          </a:p>
        </p:txBody>
      </p:sp>
    </p:spTree>
    <p:extLst>
      <p:ext uri="{BB962C8B-B14F-4D97-AF65-F5344CB8AC3E}">
        <p14:creationId xmlns:p14="http://schemas.microsoft.com/office/powerpoint/2010/main" val="22974254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8EB15B-03AF-42B4-B9DA-9A3963DC5EBA}" type="slidenum">
              <a:rPr lang="en-US" smtClean="0"/>
              <a:t>4</a:t>
            </a:fld>
            <a:endParaRPr lang="en-US" dirty="0"/>
          </a:p>
        </p:txBody>
      </p:sp>
    </p:spTree>
    <p:extLst>
      <p:ext uri="{BB962C8B-B14F-4D97-AF65-F5344CB8AC3E}">
        <p14:creationId xmlns:p14="http://schemas.microsoft.com/office/powerpoint/2010/main" val="2673294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8EB15B-03AF-42B4-B9DA-9A3963DC5EBA}" type="slidenum">
              <a:rPr lang="en-US" smtClean="0"/>
              <a:t>5</a:t>
            </a:fld>
            <a:endParaRPr lang="en-US" dirty="0"/>
          </a:p>
        </p:txBody>
      </p:sp>
    </p:spTree>
    <p:extLst>
      <p:ext uri="{BB962C8B-B14F-4D97-AF65-F5344CB8AC3E}">
        <p14:creationId xmlns:p14="http://schemas.microsoft.com/office/powerpoint/2010/main" val="3691213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8EB15B-03AF-42B4-B9DA-9A3963DC5EBA}" type="slidenum">
              <a:rPr lang="en-US" smtClean="0"/>
              <a:t>6</a:t>
            </a:fld>
            <a:endParaRPr lang="en-US" dirty="0"/>
          </a:p>
        </p:txBody>
      </p:sp>
    </p:spTree>
    <p:extLst>
      <p:ext uri="{BB962C8B-B14F-4D97-AF65-F5344CB8AC3E}">
        <p14:creationId xmlns:p14="http://schemas.microsoft.com/office/powerpoint/2010/main" val="3336835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100" dirty="0">
              <a:solidFill>
                <a:srgbClr val="FFFFFF"/>
              </a:solidFill>
              <a:sym typeface="Arial" panose="020B0604020202020204" pitchFamily="34" charset="0"/>
            </a:endParaRPr>
          </a:p>
        </p:txBody>
      </p:sp>
      <p:sp>
        <p:nvSpPr>
          <p:cNvPr id="13" name="Marcador de posición de imagen 12">
            <a:extLst>
              <a:ext uri="{FF2B5EF4-FFF2-40B4-BE49-F238E27FC236}">
                <a16:creationId xmlns:a16="http://schemas.microsoft.com/office/drawing/2014/main" id="{15C5E64B-3225-45C7-B625-CC93DD9A4117}"/>
              </a:ext>
            </a:extLst>
          </p:cNvPr>
          <p:cNvSpPr>
            <a:spLocks noGrp="1"/>
          </p:cNvSpPr>
          <p:nvPr>
            <p:ph type="pic" sz="quarter" idx="13" hasCustomPrompt="1"/>
          </p:nvPr>
        </p:nvSpPr>
        <p:spPr>
          <a:xfrm>
            <a:off x="0" y="1222375"/>
            <a:ext cx="12192000" cy="5635625"/>
          </a:xfrm>
          <a:custGeom>
            <a:avLst/>
            <a:gdLst>
              <a:gd name="connsiteX0" fmla="*/ 6096000 w 12192000"/>
              <a:gd name="connsiteY0" fmla="*/ 0 h 5635625"/>
              <a:gd name="connsiteX1" fmla="*/ 12192000 w 12192000"/>
              <a:gd name="connsiteY1" fmla="*/ 0 h 5635625"/>
              <a:gd name="connsiteX2" fmla="*/ 12192000 w 12192000"/>
              <a:gd name="connsiteY2" fmla="*/ 5635625 h 5635625"/>
              <a:gd name="connsiteX3" fmla="*/ 0 w 12192000"/>
              <a:gd name="connsiteY3" fmla="*/ 5635625 h 5635625"/>
              <a:gd name="connsiteX4" fmla="*/ 0 w 12192000"/>
              <a:gd name="connsiteY4" fmla="*/ 5222492 h 5635625"/>
              <a:gd name="connsiteX5" fmla="*/ 6096000 w 12192000"/>
              <a:gd name="connsiteY5" fmla="*/ 5222492 h 563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635625">
                <a:moveTo>
                  <a:pt x="6096000" y="0"/>
                </a:moveTo>
                <a:lnTo>
                  <a:pt x="12192000" y="0"/>
                </a:lnTo>
                <a:lnTo>
                  <a:pt x="12192000" y="5635625"/>
                </a:lnTo>
                <a:lnTo>
                  <a:pt x="0" y="5635625"/>
                </a:lnTo>
                <a:lnTo>
                  <a:pt x="0" y="5222492"/>
                </a:lnTo>
                <a:lnTo>
                  <a:pt x="6096000" y="5222492"/>
                </a:lnTo>
                <a:close/>
              </a:path>
            </a:pathLst>
          </a:custGeom>
        </p:spPr>
        <p:txBody>
          <a:bodyPr wrap="square">
            <a:noAutofit/>
          </a:bodyPr>
          <a:lstStyle>
            <a:lvl1pPr marL="0" indent="0" algn="r">
              <a:buFontTx/>
              <a:buNone/>
              <a:defRPr sz="1800"/>
            </a:lvl1pPr>
          </a:lstStyle>
          <a:p>
            <a:r>
              <a:rPr lang="en-US" dirty="0"/>
              <a:t>Insert image here</a:t>
            </a:r>
          </a:p>
        </p:txBody>
      </p:sp>
      <p:sp>
        <p:nvSpPr>
          <p:cNvPr id="2" name="Título 1">
            <a:extLst>
              <a:ext uri="{FF2B5EF4-FFF2-40B4-BE49-F238E27FC236}">
                <a16:creationId xmlns:a16="http://schemas.microsoft.com/office/drawing/2014/main" id="{92F305A9-DE4B-49AF-BCD4-43A65F7EB523}"/>
              </a:ext>
            </a:extLst>
          </p:cNvPr>
          <p:cNvSpPr>
            <a:spLocks noGrp="1"/>
          </p:cNvSpPr>
          <p:nvPr>
            <p:ph type="ctrTitle"/>
          </p:nvPr>
        </p:nvSpPr>
        <p:spPr>
          <a:xfrm>
            <a:off x="721745" y="1096485"/>
            <a:ext cx="4937184" cy="1407004"/>
          </a:xfrm>
        </p:spPr>
        <p:txBody>
          <a:bodyPr anchor="t">
            <a:normAutofit/>
          </a:bodyPr>
          <a:lstStyle>
            <a:lvl1pPr algn="l">
              <a:lnSpc>
                <a:spcPct val="90000"/>
              </a:lnSpc>
              <a:defRPr sz="4100">
                <a:solidFill>
                  <a:schemeClr val="accent1"/>
                </a:solidFill>
              </a:defRPr>
            </a:lvl1pPr>
          </a:lstStyle>
          <a:p>
            <a:r>
              <a:rPr lang="en-US" dirty="0"/>
              <a:t>Click to edit Master title style</a:t>
            </a:r>
          </a:p>
        </p:txBody>
      </p:sp>
      <p:sp>
        <p:nvSpPr>
          <p:cNvPr id="3" name="Subtítulo 2">
            <a:extLst>
              <a:ext uri="{FF2B5EF4-FFF2-40B4-BE49-F238E27FC236}">
                <a16:creationId xmlns:a16="http://schemas.microsoft.com/office/drawing/2014/main" id="{7AB17398-CAA7-49B6-868C-44D053E7EAC0}"/>
              </a:ext>
            </a:extLst>
          </p:cNvPr>
          <p:cNvSpPr>
            <a:spLocks noGrp="1"/>
          </p:cNvSpPr>
          <p:nvPr>
            <p:ph type="subTitle" idx="1"/>
          </p:nvPr>
        </p:nvSpPr>
        <p:spPr>
          <a:xfrm>
            <a:off x="724620" y="2722142"/>
            <a:ext cx="4934309" cy="2436454"/>
          </a:xfrm>
        </p:spPr>
        <p:txBody>
          <a:bodyPr>
            <a:noAutofit/>
          </a:bodyPr>
          <a:lstStyle>
            <a:lvl1pPr marL="0" indent="0" algn="l">
              <a:lnSpc>
                <a:spcPct val="100000"/>
              </a:lnSpc>
              <a:spcBef>
                <a:spcPts val="0"/>
              </a:spcBef>
              <a:spcAft>
                <a:spcPts val="120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7" name="Marcador de texto 16">
            <a:extLst>
              <a:ext uri="{FF2B5EF4-FFF2-40B4-BE49-F238E27FC236}">
                <a16:creationId xmlns:a16="http://schemas.microsoft.com/office/drawing/2014/main" id="{F5E5F18D-70E6-495C-A384-2EDAE0030937}"/>
              </a:ext>
            </a:extLst>
          </p:cNvPr>
          <p:cNvSpPr>
            <a:spLocks noGrp="1"/>
          </p:cNvSpPr>
          <p:nvPr>
            <p:ph type="body" sz="quarter" idx="14"/>
          </p:nvPr>
        </p:nvSpPr>
        <p:spPr>
          <a:xfrm>
            <a:off x="709650" y="333651"/>
            <a:ext cx="11177550" cy="419100"/>
          </a:xfrm>
        </p:spPr>
        <p:txBody>
          <a:bodyPr>
            <a:noAutofit/>
          </a:bodyPr>
          <a:lstStyle>
            <a:lvl1pPr marL="0" indent="0">
              <a:buNone/>
              <a:defRPr sz="1300">
                <a:solidFill>
                  <a:schemeClr val="tx2"/>
                </a:solidFill>
              </a:defRPr>
            </a:lvl1pPr>
            <a:lvl2pPr marL="457200" indent="0">
              <a:buNone/>
              <a:defRPr sz="1300">
                <a:solidFill>
                  <a:schemeClr val="tx2"/>
                </a:solidFill>
              </a:defRPr>
            </a:lvl2pPr>
            <a:lvl3pPr marL="914400" indent="0">
              <a:buNone/>
              <a:defRPr sz="1300">
                <a:solidFill>
                  <a:schemeClr val="tx2"/>
                </a:solidFill>
              </a:defRPr>
            </a:lvl3pPr>
            <a:lvl4pPr marL="1371600" indent="0">
              <a:buNone/>
              <a:defRPr sz="1300">
                <a:solidFill>
                  <a:schemeClr val="tx2"/>
                </a:solidFill>
              </a:defRPr>
            </a:lvl4pPr>
            <a:lvl5pPr marL="1828800" indent="0">
              <a:buNone/>
              <a:defRPr sz="1300">
                <a:solidFill>
                  <a:schemeClr val="tx2"/>
                </a:solidFill>
              </a:defRPr>
            </a:lvl5pPr>
          </a:lstStyle>
          <a:p>
            <a:pPr lvl="0"/>
            <a:r>
              <a:rPr lang="en-US" dirty="0"/>
              <a:t>Edit Master text styles</a:t>
            </a:r>
          </a:p>
        </p:txBody>
      </p:sp>
      <p:sp>
        <p:nvSpPr>
          <p:cNvPr id="9" name="object 2">
            <a:extLst>
              <a:ext uri="{FF2B5EF4-FFF2-40B4-BE49-F238E27FC236}">
                <a16:creationId xmlns:a16="http://schemas.microsoft.com/office/drawing/2014/main" id="{D369EFD6-BB53-4405-9FD3-F0456B441DD2}"/>
              </a:ext>
            </a:extLst>
          </p:cNvPr>
          <p:cNvSpPr/>
          <p:nvPr userDrawn="1"/>
        </p:nvSpPr>
        <p:spPr>
          <a:xfrm>
            <a:off x="711025" y="6248472"/>
            <a:ext cx="1342220" cy="250898"/>
          </a:xfrm>
          <a:prstGeom prst="rect">
            <a:avLst/>
          </a:prstGeom>
          <a:blipFill>
            <a:blip r:embed="rId6" cstate="print"/>
            <a:stretch>
              <a:fillRect/>
            </a:stretch>
          </a:blipFill>
        </p:spPr>
        <p:txBody>
          <a:bodyPr wrap="square" lIns="0" tIns="0" rIns="0" bIns="0" rtlCol="0"/>
          <a:lstStyle/>
          <a:p>
            <a:endParaRPr sz="1600" dirty="0"/>
          </a:p>
        </p:txBody>
      </p:sp>
    </p:spTree>
    <p:extLst>
      <p:ext uri="{BB962C8B-B14F-4D97-AF65-F5344CB8AC3E}">
        <p14:creationId xmlns:p14="http://schemas.microsoft.com/office/powerpoint/2010/main" val="1584044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ank you - Contact ">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80DAC009-2BB8-4885-AC03-9FD05C47BE65}"/>
              </a:ext>
            </a:extLst>
          </p:cNvPr>
          <p:cNvSpPr/>
          <p:nvPr userDrawn="1"/>
        </p:nvSpPr>
        <p:spPr>
          <a:xfrm>
            <a:off x="820236" y="3464157"/>
            <a:ext cx="2446172" cy="248603"/>
          </a:xfrm>
          <a:custGeom>
            <a:avLst/>
            <a:gdLst/>
            <a:ahLst/>
            <a:cxnLst/>
            <a:rect l="l" t="t" r="r" b="b"/>
            <a:pathLst>
              <a:path w="2446172" h="248603">
                <a:moveTo>
                  <a:pt x="2218258" y="75686"/>
                </a:moveTo>
                <a:cubicBezTo>
                  <a:pt x="2202560" y="75848"/>
                  <a:pt x="2190935" y="80359"/>
                  <a:pt x="2183385" y="89222"/>
                </a:cubicBezTo>
                <a:cubicBezTo>
                  <a:pt x="2175835" y="98084"/>
                  <a:pt x="2172083" y="110330"/>
                  <a:pt x="2172129" y="125959"/>
                </a:cubicBezTo>
                <a:cubicBezTo>
                  <a:pt x="2172037" y="140289"/>
                  <a:pt x="2175052" y="151821"/>
                  <a:pt x="2181175" y="160557"/>
                </a:cubicBezTo>
                <a:cubicBezTo>
                  <a:pt x="2187298" y="169292"/>
                  <a:pt x="2197081" y="173781"/>
                  <a:pt x="2210524" y="174023"/>
                </a:cubicBezTo>
                <a:cubicBezTo>
                  <a:pt x="2216451" y="173988"/>
                  <a:pt x="2221861" y="173090"/>
                  <a:pt x="2226752" y="171329"/>
                </a:cubicBezTo>
                <a:cubicBezTo>
                  <a:pt x="2231644" y="169568"/>
                  <a:pt x="2236086" y="167151"/>
                  <a:pt x="2240080" y="164078"/>
                </a:cubicBezTo>
                <a:lnTo>
                  <a:pt x="2240080" y="77344"/>
                </a:lnTo>
                <a:cubicBezTo>
                  <a:pt x="2236926" y="76791"/>
                  <a:pt x="2233566" y="76377"/>
                  <a:pt x="2229998" y="76101"/>
                </a:cubicBezTo>
                <a:cubicBezTo>
                  <a:pt x="2226430" y="75825"/>
                  <a:pt x="2222517" y="75686"/>
                  <a:pt x="2218258" y="75686"/>
                </a:cubicBezTo>
                <a:close/>
                <a:moveTo>
                  <a:pt x="1789633" y="75686"/>
                </a:moveTo>
                <a:cubicBezTo>
                  <a:pt x="1773935" y="75848"/>
                  <a:pt x="1762310" y="80359"/>
                  <a:pt x="1754760" y="89222"/>
                </a:cubicBezTo>
                <a:cubicBezTo>
                  <a:pt x="1747210" y="98084"/>
                  <a:pt x="1743458" y="110330"/>
                  <a:pt x="1743504" y="125959"/>
                </a:cubicBezTo>
                <a:cubicBezTo>
                  <a:pt x="1743412" y="140289"/>
                  <a:pt x="1746427" y="151821"/>
                  <a:pt x="1752550" y="160557"/>
                </a:cubicBezTo>
                <a:cubicBezTo>
                  <a:pt x="1758673" y="169292"/>
                  <a:pt x="1768456" y="173781"/>
                  <a:pt x="1781899" y="174023"/>
                </a:cubicBezTo>
                <a:cubicBezTo>
                  <a:pt x="1787826" y="173988"/>
                  <a:pt x="1793236" y="173090"/>
                  <a:pt x="1798127" y="171329"/>
                </a:cubicBezTo>
                <a:cubicBezTo>
                  <a:pt x="1803019" y="169568"/>
                  <a:pt x="1807461" y="167151"/>
                  <a:pt x="1811455" y="164078"/>
                </a:cubicBezTo>
                <a:lnTo>
                  <a:pt x="1811455" y="77344"/>
                </a:lnTo>
                <a:cubicBezTo>
                  <a:pt x="1808302" y="76791"/>
                  <a:pt x="1804941" y="76377"/>
                  <a:pt x="1801373" y="76101"/>
                </a:cubicBezTo>
                <a:cubicBezTo>
                  <a:pt x="1797805" y="75825"/>
                  <a:pt x="1793892" y="75686"/>
                  <a:pt x="1789633" y="75686"/>
                </a:cubicBezTo>
                <a:close/>
                <a:moveTo>
                  <a:pt x="1469508" y="75686"/>
                </a:moveTo>
                <a:cubicBezTo>
                  <a:pt x="1455466" y="75859"/>
                  <a:pt x="1445085" y="80210"/>
                  <a:pt x="1438363" y="88738"/>
                </a:cubicBezTo>
                <a:cubicBezTo>
                  <a:pt x="1431642" y="97267"/>
                  <a:pt x="1428304" y="108937"/>
                  <a:pt x="1428350" y="123750"/>
                </a:cubicBezTo>
                <a:cubicBezTo>
                  <a:pt x="1428460" y="140663"/>
                  <a:pt x="1432108" y="153104"/>
                  <a:pt x="1439296" y="161075"/>
                </a:cubicBezTo>
                <a:cubicBezTo>
                  <a:pt x="1446483" y="169045"/>
                  <a:pt x="1456554" y="172993"/>
                  <a:pt x="1469508" y="172918"/>
                </a:cubicBezTo>
                <a:cubicBezTo>
                  <a:pt x="1483031" y="172762"/>
                  <a:pt x="1493136" y="168446"/>
                  <a:pt x="1499823" y="159970"/>
                </a:cubicBezTo>
                <a:cubicBezTo>
                  <a:pt x="1506510" y="151493"/>
                  <a:pt x="1509848" y="139788"/>
                  <a:pt x="1509836" y="124855"/>
                </a:cubicBezTo>
                <a:cubicBezTo>
                  <a:pt x="1509710" y="108062"/>
                  <a:pt x="1506096" y="95655"/>
                  <a:pt x="1498995" y="87633"/>
                </a:cubicBezTo>
                <a:cubicBezTo>
                  <a:pt x="1491894" y="79611"/>
                  <a:pt x="1482064" y="75629"/>
                  <a:pt x="1469508" y="75686"/>
                </a:cubicBezTo>
                <a:close/>
                <a:moveTo>
                  <a:pt x="523075" y="75686"/>
                </a:moveTo>
                <a:cubicBezTo>
                  <a:pt x="519478" y="75698"/>
                  <a:pt x="515968" y="75882"/>
                  <a:pt x="512544" y="76239"/>
                </a:cubicBezTo>
                <a:cubicBezTo>
                  <a:pt x="509120" y="76596"/>
                  <a:pt x="505817" y="77056"/>
                  <a:pt x="502634" y="77620"/>
                </a:cubicBezTo>
                <a:lnTo>
                  <a:pt x="502634" y="169879"/>
                </a:lnTo>
                <a:cubicBezTo>
                  <a:pt x="510092" y="171859"/>
                  <a:pt x="517551" y="172872"/>
                  <a:pt x="525009" y="172918"/>
                </a:cubicBezTo>
                <a:cubicBezTo>
                  <a:pt x="540212" y="172877"/>
                  <a:pt x="551653" y="168746"/>
                  <a:pt x="559330" y="160522"/>
                </a:cubicBezTo>
                <a:cubicBezTo>
                  <a:pt x="567006" y="152299"/>
                  <a:pt x="570851" y="140225"/>
                  <a:pt x="570862" y="124302"/>
                </a:cubicBezTo>
                <a:cubicBezTo>
                  <a:pt x="571012" y="109346"/>
                  <a:pt x="567329" y="97549"/>
                  <a:pt x="559813" y="88911"/>
                </a:cubicBezTo>
                <a:cubicBezTo>
                  <a:pt x="552297" y="80273"/>
                  <a:pt x="540051" y="75865"/>
                  <a:pt x="523075" y="75686"/>
                </a:cubicBezTo>
                <a:close/>
                <a:moveTo>
                  <a:pt x="1101204" y="75134"/>
                </a:moveTo>
                <a:cubicBezTo>
                  <a:pt x="1090460" y="75163"/>
                  <a:pt x="1082185" y="78213"/>
                  <a:pt x="1076379" y="84284"/>
                </a:cubicBezTo>
                <a:cubicBezTo>
                  <a:pt x="1070572" y="90355"/>
                  <a:pt x="1067062" y="99275"/>
                  <a:pt x="1065848" y="111043"/>
                </a:cubicBezTo>
                <a:lnTo>
                  <a:pt x="1134351" y="111043"/>
                </a:lnTo>
                <a:cubicBezTo>
                  <a:pt x="1134282" y="99637"/>
                  <a:pt x="1131382" y="90821"/>
                  <a:pt x="1125650" y="84595"/>
                </a:cubicBezTo>
                <a:cubicBezTo>
                  <a:pt x="1119919" y="78368"/>
                  <a:pt x="1111770" y="75215"/>
                  <a:pt x="1101204" y="75134"/>
                </a:cubicBezTo>
                <a:close/>
                <a:moveTo>
                  <a:pt x="748779" y="75134"/>
                </a:moveTo>
                <a:cubicBezTo>
                  <a:pt x="738035" y="75163"/>
                  <a:pt x="729760" y="78213"/>
                  <a:pt x="723954" y="84284"/>
                </a:cubicBezTo>
                <a:cubicBezTo>
                  <a:pt x="718147" y="90355"/>
                  <a:pt x="714637" y="99275"/>
                  <a:pt x="713423" y="111043"/>
                </a:cubicBezTo>
                <a:lnTo>
                  <a:pt x="781926" y="111043"/>
                </a:lnTo>
                <a:cubicBezTo>
                  <a:pt x="781857" y="99637"/>
                  <a:pt x="778957" y="90821"/>
                  <a:pt x="773225" y="84595"/>
                </a:cubicBezTo>
                <a:cubicBezTo>
                  <a:pt x="767494" y="78368"/>
                  <a:pt x="759345" y="75215"/>
                  <a:pt x="748779" y="75134"/>
                </a:cubicBezTo>
                <a:close/>
                <a:moveTo>
                  <a:pt x="2301050" y="53036"/>
                </a:moveTo>
                <a:lnTo>
                  <a:pt x="2331434" y="53036"/>
                </a:lnTo>
                <a:lnTo>
                  <a:pt x="2331434" y="195568"/>
                </a:lnTo>
                <a:lnTo>
                  <a:pt x="2301050" y="195568"/>
                </a:lnTo>
                <a:close/>
                <a:moveTo>
                  <a:pt x="157925" y="53036"/>
                </a:moveTo>
                <a:lnTo>
                  <a:pt x="188309" y="53036"/>
                </a:lnTo>
                <a:lnTo>
                  <a:pt x="188309" y="195568"/>
                </a:lnTo>
                <a:lnTo>
                  <a:pt x="157925" y="195568"/>
                </a:lnTo>
                <a:close/>
                <a:moveTo>
                  <a:pt x="2419655" y="49721"/>
                </a:moveTo>
                <a:cubicBezTo>
                  <a:pt x="2424454" y="49716"/>
                  <a:pt x="2429219" y="49796"/>
                  <a:pt x="2433950" y="49963"/>
                </a:cubicBezTo>
                <a:cubicBezTo>
                  <a:pt x="2438680" y="50130"/>
                  <a:pt x="2442754" y="50418"/>
                  <a:pt x="2446172" y="50826"/>
                </a:cubicBezTo>
                <a:cubicBezTo>
                  <a:pt x="2446161" y="55534"/>
                  <a:pt x="2445908" y="60275"/>
                  <a:pt x="2445413" y="65052"/>
                </a:cubicBezTo>
                <a:cubicBezTo>
                  <a:pt x="2444918" y="69828"/>
                  <a:pt x="2444250" y="73741"/>
                  <a:pt x="2443410" y="76791"/>
                </a:cubicBezTo>
                <a:cubicBezTo>
                  <a:pt x="2439848" y="76383"/>
                  <a:pt x="2436200" y="76095"/>
                  <a:pt x="2432465" y="75928"/>
                </a:cubicBezTo>
                <a:cubicBezTo>
                  <a:pt x="2428730" y="75761"/>
                  <a:pt x="2424736" y="75681"/>
                  <a:pt x="2420484" y="75686"/>
                </a:cubicBezTo>
                <a:cubicBezTo>
                  <a:pt x="2413026" y="75686"/>
                  <a:pt x="2405567" y="76239"/>
                  <a:pt x="2398109" y="77344"/>
                </a:cubicBezTo>
                <a:lnTo>
                  <a:pt x="2398109" y="195568"/>
                </a:lnTo>
                <a:lnTo>
                  <a:pt x="2367725" y="195568"/>
                </a:lnTo>
                <a:lnTo>
                  <a:pt x="2367725" y="57456"/>
                </a:lnTo>
                <a:cubicBezTo>
                  <a:pt x="2374498" y="55200"/>
                  <a:pt x="2382635" y="53358"/>
                  <a:pt x="2392136" y="51931"/>
                </a:cubicBezTo>
                <a:cubicBezTo>
                  <a:pt x="2401637" y="50504"/>
                  <a:pt x="2410810" y="49767"/>
                  <a:pt x="2419655" y="49721"/>
                </a:cubicBezTo>
                <a:close/>
                <a:moveTo>
                  <a:pt x="2218258" y="49721"/>
                </a:moveTo>
                <a:cubicBezTo>
                  <a:pt x="2228133" y="49698"/>
                  <a:pt x="2237318" y="50297"/>
                  <a:pt x="2245812" y="51517"/>
                </a:cubicBezTo>
                <a:cubicBezTo>
                  <a:pt x="2254306" y="52737"/>
                  <a:pt x="2262523" y="54716"/>
                  <a:pt x="2270465" y="57456"/>
                </a:cubicBezTo>
                <a:lnTo>
                  <a:pt x="2270465" y="195568"/>
                </a:lnTo>
                <a:lnTo>
                  <a:pt x="2242566" y="195568"/>
                </a:lnTo>
                <a:lnTo>
                  <a:pt x="2240909" y="178995"/>
                </a:lnTo>
                <a:cubicBezTo>
                  <a:pt x="2237111" y="185141"/>
                  <a:pt x="2232069" y="189975"/>
                  <a:pt x="2225785" y="193496"/>
                </a:cubicBezTo>
                <a:cubicBezTo>
                  <a:pt x="2219501" y="197018"/>
                  <a:pt x="2211560" y="198814"/>
                  <a:pt x="2201961" y="198883"/>
                </a:cubicBezTo>
                <a:cubicBezTo>
                  <a:pt x="2183477" y="198745"/>
                  <a:pt x="2168791" y="192392"/>
                  <a:pt x="2157903" y="179823"/>
                </a:cubicBezTo>
                <a:cubicBezTo>
                  <a:pt x="2147015" y="167255"/>
                  <a:pt x="2141445" y="149300"/>
                  <a:pt x="2141191" y="125959"/>
                </a:cubicBezTo>
                <a:cubicBezTo>
                  <a:pt x="2141209" y="101514"/>
                  <a:pt x="2147665" y="82730"/>
                  <a:pt x="2160562" y="69610"/>
                </a:cubicBezTo>
                <a:cubicBezTo>
                  <a:pt x="2173458" y="56489"/>
                  <a:pt x="2192690" y="49859"/>
                  <a:pt x="2218258" y="49721"/>
                </a:cubicBezTo>
                <a:close/>
                <a:moveTo>
                  <a:pt x="1789633" y="49721"/>
                </a:moveTo>
                <a:cubicBezTo>
                  <a:pt x="1799508" y="49698"/>
                  <a:pt x="1808693" y="50297"/>
                  <a:pt x="1817187" y="51517"/>
                </a:cubicBezTo>
                <a:cubicBezTo>
                  <a:pt x="1825681" y="52737"/>
                  <a:pt x="1833899" y="54716"/>
                  <a:pt x="1841840" y="57456"/>
                </a:cubicBezTo>
                <a:lnTo>
                  <a:pt x="1841840" y="195568"/>
                </a:lnTo>
                <a:lnTo>
                  <a:pt x="1813941" y="195568"/>
                </a:lnTo>
                <a:lnTo>
                  <a:pt x="1812284" y="178995"/>
                </a:lnTo>
                <a:cubicBezTo>
                  <a:pt x="1808486" y="185141"/>
                  <a:pt x="1803445" y="189975"/>
                  <a:pt x="1797160" y="193496"/>
                </a:cubicBezTo>
                <a:cubicBezTo>
                  <a:pt x="1790876" y="197018"/>
                  <a:pt x="1782935" y="198814"/>
                  <a:pt x="1773336" y="198883"/>
                </a:cubicBezTo>
                <a:cubicBezTo>
                  <a:pt x="1754852" y="198745"/>
                  <a:pt x="1740166" y="192392"/>
                  <a:pt x="1729278" y="179823"/>
                </a:cubicBezTo>
                <a:cubicBezTo>
                  <a:pt x="1718390" y="167255"/>
                  <a:pt x="1712820" y="149300"/>
                  <a:pt x="1712567" y="125959"/>
                </a:cubicBezTo>
                <a:cubicBezTo>
                  <a:pt x="1712584" y="101514"/>
                  <a:pt x="1719041" y="82730"/>
                  <a:pt x="1731937" y="69610"/>
                </a:cubicBezTo>
                <a:cubicBezTo>
                  <a:pt x="1744833" y="56489"/>
                  <a:pt x="1764065" y="49859"/>
                  <a:pt x="1789633" y="49721"/>
                </a:cubicBezTo>
                <a:close/>
                <a:moveTo>
                  <a:pt x="1622870" y="49721"/>
                </a:moveTo>
                <a:cubicBezTo>
                  <a:pt x="1647903" y="49842"/>
                  <a:pt x="1665443" y="54503"/>
                  <a:pt x="1675491" y="63705"/>
                </a:cubicBezTo>
                <a:cubicBezTo>
                  <a:pt x="1685538" y="72907"/>
                  <a:pt x="1690372" y="85924"/>
                  <a:pt x="1689992" y="102757"/>
                </a:cubicBezTo>
                <a:lnTo>
                  <a:pt x="1689992" y="195568"/>
                </a:lnTo>
                <a:lnTo>
                  <a:pt x="1659608" y="195568"/>
                </a:lnTo>
                <a:lnTo>
                  <a:pt x="1659608" y="108005"/>
                </a:lnTo>
                <a:cubicBezTo>
                  <a:pt x="1659941" y="97111"/>
                  <a:pt x="1657478" y="88997"/>
                  <a:pt x="1652219" y="83662"/>
                </a:cubicBezTo>
                <a:cubicBezTo>
                  <a:pt x="1646959" y="78328"/>
                  <a:pt x="1636900" y="75669"/>
                  <a:pt x="1622041" y="75686"/>
                </a:cubicBezTo>
                <a:cubicBezTo>
                  <a:pt x="1618416" y="75692"/>
                  <a:pt x="1614548" y="75888"/>
                  <a:pt x="1610440" y="76273"/>
                </a:cubicBezTo>
                <a:cubicBezTo>
                  <a:pt x="1606331" y="76659"/>
                  <a:pt x="1602187" y="77200"/>
                  <a:pt x="1598009" y="77896"/>
                </a:cubicBezTo>
                <a:lnTo>
                  <a:pt x="1598009" y="195568"/>
                </a:lnTo>
                <a:lnTo>
                  <a:pt x="1567625" y="195568"/>
                </a:lnTo>
                <a:lnTo>
                  <a:pt x="1567625" y="57456"/>
                </a:lnTo>
                <a:cubicBezTo>
                  <a:pt x="1577471" y="55079"/>
                  <a:pt x="1587265" y="53203"/>
                  <a:pt x="1597008" y="51828"/>
                </a:cubicBezTo>
                <a:cubicBezTo>
                  <a:pt x="1606751" y="50452"/>
                  <a:pt x="1615371" y="49750"/>
                  <a:pt x="1622870" y="49721"/>
                </a:cubicBezTo>
                <a:close/>
                <a:moveTo>
                  <a:pt x="1470336" y="49721"/>
                </a:moveTo>
                <a:cubicBezTo>
                  <a:pt x="1485815" y="49861"/>
                  <a:pt x="1498777" y="53111"/>
                  <a:pt x="1509223" y="59471"/>
                </a:cubicBezTo>
                <a:cubicBezTo>
                  <a:pt x="1519668" y="65831"/>
                  <a:pt x="1527535" y="74462"/>
                  <a:pt x="1532825" y="85365"/>
                </a:cubicBezTo>
                <a:cubicBezTo>
                  <a:pt x="1538114" y="96267"/>
                  <a:pt x="1540764" y="108602"/>
                  <a:pt x="1540774" y="122369"/>
                </a:cubicBezTo>
                <a:cubicBezTo>
                  <a:pt x="1540555" y="146705"/>
                  <a:pt x="1534018" y="165500"/>
                  <a:pt x="1521162" y="178753"/>
                </a:cubicBezTo>
                <a:cubicBezTo>
                  <a:pt x="1508306" y="192006"/>
                  <a:pt x="1490443" y="198716"/>
                  <a:pt x="1467574" y="198883"/>
                </a:cubicBezTo>
                <a:cubicBezTo>
                  <a:pt x="1452360" y="198743"/>
                  <a:pt x="1439544" y="195493"/>
                  <a:pt x="1429128" y="189133"/>
                </a:cubicBezTo>
                <a:cubicBezTo>
                  <a:pt x="1418711" y="182773"/>
                  <a:pt x="1410827" y="174142"/>
                  <a:pt x="1405475" y="163240"/>
                </a:cubicBezTo>
                <a:cubicBezTo>
                  <a:pt x="1400122" y="152337"/>
                  <a:pt x="1397435" y="140003"/>
                  <a:pt x="1397413" y="126236"/>
                </a:cubicBezTo>
                <a:cubicBezTo>
                  <a:pt x="1397655" y="101899"/>
                  <a:pt x="1404215" y="83104"/>
                  <a:pt x="1417094" y="69851"/>
                </a:cubicBezTo>
                <a:cubicBezTo>
                  <a:pt x="1429973" y="56598"/>
                  <a:pt x="1447720" y="49888"/>
                  <a:pt x="1470336" y="49721"/>
                </a:cubicBezTo>
                <a:close/>
                <a:moveTo>
                  <a:pt x="1329662" y="49721"/>
                </a:moveTo>
                <a:cubicBezTo>
                  <a:pt x="1338351" y="49704"/>
                  <a:pt x="1346454" y="50222"/>
                  <a:pt x="1353969" y="51275"/>
                </a:cubicBezTo>
                <a:cubicBezTo>
                  <a:pt x="1361485" y="52328"/>
                  <a:pt x="1368483" y="54020"/>
                  <a:pt x="1374963" y="56351"/>
                </a:cubicBezTo>
                <a:cubicBezTo>
                  <a:pt x="1374709" y="60316"/>
                  <a:pt x="1374249" y="64263"/>
                  <a:pt x="1373581" y="68194"/>
                </a:cubicBezTo>
                <a:cubicBezTo>
                  <a:pt x="1372914" y="72124"/>
                  <a:pt x="1371901" y="76279"/>
                  <a:pt x="1370543" y="80659"/>
                </a:cubicBezTo>
                <a:cubicBezTo>
                  <a:pt x="1364092" y="78604"/>
                  <a:pt x="1357589" y="77119"/>
                  <a:pt x="1351035" y="76204"/>
                </a:cubicBezTo>
                <a:cubicBezTo>
                  <a:pt x="1344480" y="75289"/>
                  <a:pt x="1337632" y="74841"/>
                  <a:pt x="1330490" y="74858"/>
                </a:cubicBezTo>
                <a:cubicBezTo>
                  <a:pt x="1321018" y="74933"/>
                  <a:pt x="1314550" y="76302"/>
                  <a:pt x="1311086" y="78967"/>
                </a:cubicBezTo>
                <a:cubicBezTo>
                  <a:pt x="1307621" y="81631"/>
                  <a:pt x="1305987" y="85141"/>
                  <a:pt x="1306182" y="89498"/>
                </a:cubicBezTo>
                <a:cubicBezTo>
                  <a:pt x="1306165" y="94504"/>
                  <a:pt x="1307926" y="98510"/>
                  <a:pt x="1311465" y="101514"/>
                </a:cubicBezTo>
                <a:cubicBezTo>
                  <a:pt x="1315004" y="104517"/>
                  <a:pt x="1320425" y="107142"/>
                  <a:pt x="1327728" y="109386"/>
                </a:cubicBezTo>
                <a:lnTo>
                  <a:pt x="1342368" y="114082"/>
                </a:lnTo>
                <a:cubicBezTo>
                  <a:pt x="1355414" y="118104"/>
                  <a:pt x="1364955" y="123456"/>
                  <a:pt x="1370992" y="130137"/>
                </a:cubicBezTo>
                <a:cubicBezTo>
                  <a:pt x="1377029" y="136819"/>
                  <a:pt x="1380009" y="145554"/>
                  <a:pt x="1379935" y="156344"/>
                </a:cubicBezTo>
                <a:cubicBezTo>
                  <a:pt x="1379865" y="169114"/>
                  <a:pt x="1375032" y="179346"/>
                  <a:pt x="1365433" y="187040"/>
                </a:cubicBezTo>
                <a:cubicBezTo>
                  <a:pt x="1355834" y="194734"/>
                  <a:pt x="1341885" y="198681"/>
                  <a:pt x="1323585" y="198883"/>
                </a:cubicBezTo>
                <a:cubicBezTo>
                  <a:pt x="1313428" y="198906"/>
                  <a:pt x="1304393" y="198169"/>
                  <a:pt x="1296480" y="196673"/>
                </a:cubicBezTo>
                <a:cubicBezTo>
                  <a:pt x="1288567" y="195177"/>
                  <a:pt x="1281397" y="192783"/>
                  <a:pt x="1274969" y="189491"/>
                </a:cubicBezTo>
                <a:cubicBezTo>
                  <a:pt x="1275245" y="183863"/>
                  <a:pt x="1275729" y="178960"/>
                  <a:pt x="1276419" y="174782"/>
                </a:cubicBezTo>
                <a:cubicBezTo>
                  <a:pt x="1277110" y="170604"/>
                  <a:pt x="1278008" y="166944"/>
                  <a:pt x="1279112" y="163802"/>
                </a:cubicBezTo>
                <a:cubicBezTo>
                  <a:pt x="1285661" y="166985"/>
                  <a:pt x="1292866" y="169390"/>
                  <a:pt x="1300727" y="171019"/>
                </a:cubicBezTo>
                <a:cubicBezTo>
                  <a:pt x="1308588" y="172647"/>
                  <a:pt x="1315931" y="173464"/>
                  <a:pt x="1322756" y="173470"/>
                </a:cubicBezTo>
                <a:cubicBezTo>
                  <a:pt x="1331497" y="173516"/>
                  <a:pt x="1338184" y="172250"/>
                  <a:pt x="1342817" y="169672"/>
                </a:cubicBezTo>
                <a:cubicBezTo>
                  <a:pt x="1347449" y="167094"/>
                  <a:pt x="1349786" y="162928"/>
                  <a:pt x="1349826" y="157173"/>
                </a:cubicBezTo>
                <a:cubicBezTo>
                  <a:pt x="1349757" y="152189"/>
                  <a:pt x="1347823" y="148345"/>
                  <a:pt x="1344025" y="145640"/>
                </a:cubicBezTo>
                <a:cubicBezTo>
                  <a:pt x="1340227" y="142936"/>
                  <a:pt x="1334979" y="140611"/>
                  <a:pt x="1328281" y="138666"/>
                </a:cubicBezTo>
                <a:lnTo>
                  <a:pt x="1314193" y="134246"/>
                </a:lnTo>
                <a:cubicBezTo>
                  <a:pt x="1300434" y="129821"/>
                  <a:pt x="1290731" y="123963"/>
                  <a:pt x="1285086" y="116671"/>
                </a:cubicBezTo>
                <a:cubicBezTo>
                  <a:pt x="1279440" y="109380"/>
                  <a:pt x="1276713" y="100691"/>
                  <a:pt x="1276903" y="90603"/>
                </a:cubicBezTo>
                <a:cubicBezTo>
                  <a:pt x="1276926" y="77781"/>
                  <a:pt x="1281368" y="67791"/>
                  <a:pt x="1290231" y="60632"/>
                </a:cubicBezTo>
                <a:cubicBezTo>
                  <a:pt x="1299093" y="53473"/>
                  <a:pt x="1312236" y="49836"/>
                  <a:pt x="1329662" y="49721"/>
                </a:cubicBezTo>
                <a:close/>
                <a:moveTo>
                  <a:pt x="1238555" y="49721"/>
                </a:moveTo>
                <a:cubicBezTo>
                  <a:pt x="1243354" y="49716"/>
                  <a:pt x="1248119" y="49796"/>
                  <a:pt x="1252850" y="49963"/>
                </a:cubicBezTo>
                <a:cubicBezTo>
                  <a:pt x="1257580" y="50130"/>
                  <a:pt x="1261654" y="50418"/>
                  <a:pt x="1265073" y="50826"/>
                </a:cubicBezTo>
                <a:cubicBezTo>
                  <a:pt x="1265061" y="55534"/>
                  <a:pt x="1264808" y="60275"/>
                  <a:pt x="1264313" y="65052"/>
                </a:cubicBezTo>
                <a:cubicBezTo>
                  <a:pt x="1263818" y="69828"/>
                  <a:pt x="1263151" y="73741"/>
                  <a:pt x="1262310" y="76791"/>
                </a:cubicBezTo>
                <a:cubicBezTo>
                  <a:pt x="1258748" y="76383"/>
                  <a:pt x="1255100" y="76095"/>
                  <a:pt x="1251365" y="75928"/>
                </a:cubicBezTo>
                <a:cubicBezTo>
                  <a:pt x="1247630" y="75761"/>
                  <a:pt x="1243636" y="75681"/>
                  <a:pt x="1239384" y="75686"/>
                </a:cubicBezTo>
                <a:cubicBezTo>
                  <a:pt x="1231926" y="75686"/>
                  <a:pt x="1224468" y="76239"/>
                  <a:pt x="1217010" y="77344"/>
                </a:cubicBezTo>
                <a:lnTo>
                  <a:pt x="1217010" y="195568"/>
                </a:lnTo>
                <a:lnTo>
                  <a:pt x="1186625" y="195568"/>
                </a:lnTo>
                <a:lnTo>
                  <a:pt x="1186625" y="57456"/>
                </a:lnTo>
                <a:cubicBezTo>
                  <a:pt x="1193398" y="55200"/>
                  <a:pt x="1201535" y="53358"/>
                  <a:pt x="1211036" y="51931"/>
                </a:cubicBezTo>
                <a:cubicBezTo>
                  <a:pt x="1220537" y="50504"/>
                  <a:pt x="1229710" y="49767"/>
                  <a:pt x="1238555" y="49721"/>
                </a:cubicBezTo>
                <a:close/>
                <a:moveTo>
                  <a:pt x="1102862" y="49721"/>
                </a:moveTo>
                <a:cubicBezTo>
                  <a:pt x="1124425" y="50182"/>
                  <a:pt x="1140204" y="56374"/>
                  <a:pt x="1150200" y="68297"/>
                </a:cubicBezTo>
                <a:cubicBezTo>
                  <a:pt x="1160196" y="80221"/>
                  <a:pt x="1165133" y="95114"/>
                  <a:pt x="1165012" y="112977"/>
                </a:cubicBezTo>
                <a:cubicBezTo>
                  <a:pt x="1165012" y="117201"/>
                  <a:pt x="1164874" y="121183"/>
                  <a:pt x="1164598" y="124924"/>
                </a:cubicBezTo>
                <a:cubicBezTo>
                  <a:pt x="1164322" y="128664"/>
                  <a:pt x="1163908" y="132508"/>
                  <a:pt x="1163355" y="136456"/>
                </a:cubicBezTo>
                <a:lnTo>
                  <a:pt x="1066400" y="136456"/>
                </a:lnTo>
                <a:cubicBezTo>
                  <a:pt x="1068288" y="148731"/>
                  <a:pt x="1072937" y="157881"/>
                  <a:pt x="1080349" y="163906"/>
                </a:cubicBezTo>
                <a:cubicBezTo>
                  <a:pt x="1087762" y="169931"/>
                  <a:pt x="1098212" y="172935"/>
                  <a:pt x="1111701" y="172918"/>
                </a:cubicBezTo>
                <a:cubicBezTo>
                  <a:pt x="1120028" y="172912"/>
                  <a:pt x="1128303" y="172026"/>
                  <a:pt x="1136527" y="170259"/>
                </a:cubicBezTo>
                <a:cubicBezTo>
                  <a:pt x="1144750" y="168492"/>
                  <a:pt x="1152680" y="165880"/>
                  <a:pt x="1160317" y="162421"/>
                </a:cubicBezTo>
                <a:cubicBezTo>
                  <a:pt x="1159758" y="166507"/>
                  <a:pt x="1159079" y="170973"/>
                  <a:pt x="1158279" y="175818"/>
                </a:cubicBezTo>
                <a:cubicBezTo>
                  <a:pt x="1157479" y="180663"/>
                  <a:pt x="1156593" y="185405"/>
                  <a:pt x="1155621" y="190044"/>
                </a:cubicBezTo>
                <a:cubicBezTo>
                  <a:pt x="1148732" y="193191"/>
                  <a:pt x="1141585" y="195459"/>
                  <a:pt x="1134179" y="196846"/>
                </a:cubicBezTo>
                <a:cubicBezTo>
                  <a:pt x="1126772" y="198233"/>
                  <a:pt x="1119004" y="198912"/>
                  <a:pt x="1110872" y="198883"/>
                </a:cubicBezTo>
                <a:cubicBezTo>
                  <a:pt x="1085494" y="198693"/>
                  <a:pt x="1066573" y="192029"/>
                  <a:pt x="1054108" y="178891"/>
                </a:cubicBezTo>
                <a:cubicBezTo>
                  <a:pt x="1041643" y="165753"/>
                  <a:pt x="1035428" y="147281"/>
                  <a:pt x="1035463" y="123473"/>
                </a:cubicBezTo>
                <a:cubicBezTo>
                  <a:pt x="1035400" y="109606"/>
                  <a:pt x="1037644" y="97135"/>
                  <a:pt x="1042194" y="86060"/>
                </a:cubicBezTo>
                <a:cubicBezTo>
                  <a:pt x="1046745" y="74986"/>
                  <a:pt x="1053982" y="66198"/>
                  <a:pt x="1063904" y="59696"/>
                </a:cubicBezTo>
                <a:cubicBezTo>
                  <a:pt x="1073826" y="53195"/>
                  <a:pt x="1086812" y="49870"/>
                  <a:pt x="1102862" y="49721"/>
                </a:cubicBezTo>
                <a:close/>
                <a:moveTo>
                  <a:pt x="750437" y="49721"/>
                </a:moveTo>
                <a:cubicBezTo>
                  <a:pt x="772000" y="50182"/>
                  <a:pt x="787779" y="56374"/>
                  <a:pt x="797775" y="68297"/>
                </a:cubicBezTo>
                <a:cubicBezTo>
                  <a:pt x="807771" y="80221"/>
                  <a:pt x="812708" y="95114"/>
                  <a:pt x="812587" y="112977"/>
                </a:cubicBezTo>
                <a:cubicBezTo>
                  <a:pt x="812587" y="117201"/>
                  <a:pt x="812449" y="121183"/>
                  <a:pt x="812173" y="124924"/>
                </a:cubicBezTo>
                <a:cubicBezTo>
                  <a:pt x="811897" y="128664"/>
                  <a:pt x="811482" y="132508"/>
                  <a:pt x="810930" y="136456"/>
                </a:cubicBezTo>
                <a:lnTo>
                  <a:pt x="713975" y="136456"/>
                </a:lnTo>
                <a:cubicBezTo>
                  <a:pt x="715863" y="148731"/>
                  <a:pt x="720512" y="157881"/>
                  <a:pt x="727924" y="163906"/>
                </a:cubicBezTo>
                <a:cubicBezTo>
                  <a:pt x="735337" y="169931"/>
                  <a:pt x="745787" y="172935"/>
                  <a:pt x="759276" y="172918"/>
                </a:cubicBezTo>
                <a:cubicBezTo>
                  <a:pt x="767603" y="172912"/>
                  <a:pt x="775878" y="172026"/>
                  <a:pt x="784102" y="170259"/>
                </a:cubicBezTo>
                <a:cubicBezTo>
                  <a:pt x="792325" y="168492"/>
                  <a:pt x="800255" y="165880"/>
                  <a:pt x="807892" y="162421"/>
                </a:cubicBezTo>
                <a:cubicBezTo>
                  <a:pt x="807333" y="166507"/>
                  <a:pt x="806654" y="170973"/>
                  <a:pt x="805854" y="175818"/>
                </a:cubicBezTo>
                <a:cubicBezTo>
                  <a:pt x="805055" y="180663"/>
                  <a:pt x="804168" y="185405"/>
                  <a:pt x="803196" y="190044"/>
                </a:cubicBezTo>
                <a:cubicBezTo>
                  <a:pt x="796307" y="193191"/>
                  <a:pt x="789160" y="195459"/>
                  <a:pt x="781754" y="196846"/>
                </a:cubicBezTo>
                <a:cubicBezTo>
                  <a:pt x="774347" y="198233"/>
                  <a:pt x="766579" y="198912"/>
                  <a:pt x="758447" y="198883"/>
                </a:cubicBezTo>
                <a:cubicBezTo>
                  <a:pt x="733069" y="198693"/>
                  <a:pt x="714148" y="192029"/>
                  <a:pt x="701683" y="178891"/>
                </a:cubicBezTo>
                <a:cubicBezTo>
                  <a:pt x="689218" y="165753"/>
                  <a:pt x="683003" y="147281"/>
                  <a:pt x="683038" y="123473"/>
                </a:cubicBezTo>
                <a:cubicBezTo>
                  <a:pt x="682975" y="109606"/>
                  <a:pt x="685219" y="97135"/>
                  <a:pt x="689769" y="86060"/>
                </a:cubicBezTo>
                <a:cubicBezTo>
                  <a:pt x="694320" y="74986"/>
                  <a:pt x="701557" y="66198"/>
                  <a:pt x="711479" y="59696"/>
                </a:cubicBezTo>
                <a:cubicBezTo>
                  <a:pt x="721401" y="53195"/>
                  <a:pt x="734387" y="49870"/>
                  <a:pt x="750437" y="49721"/>
                </a:cubicBezTo>
                <a:close/>
                <a:moveTo>
                  <a:pt x="525285" y="49721"/>
                </a:moveTo>
                <a:cubicBezTo>
                  <a:pt x="551302" y="49859"/>
                  <a:pt x="570534" y="56213"/>
                  <a:pt x="582981" y="68781"/>
                </a:cubicBezTo>
                <a:cubicBezTo>
                  <a:pt x="595429" y="81349"/>
                  <a:pt x="601609" y="99304"/>
                  <a:pt x="601523" y="122645"/>
                </a:cubicBezTo>
                <a:cubicBezTo>
                  <a:pt x="601437" y="147091"/>
                  <a:pt x="595049" y="165874"/>
                  <a:pt x="582360" y="178995"/>
                </a:cubicBezTo>
                <a:cubicBezTo>
                  <a:pt x="569671" y="192115"/>
                  <a:pt x="551198" y="198745"/>
                  <a:pt x="526942" y="198883"/>
                </a:cubicBezTo>
                <a:cubicBezTo>
                  <a:pt x="517597" y="198837"/>
                  <a:pt x="509494" y="197824"/>
                  <a:pt x="502634" y="195844"/>
                </a:cubicBezTo>
                <a:lnTo>
                  <a:pt x="502634" y="248603"/>
                </a:lnTo>
                <a:lnTo>
                  <a:pt x="472250" y="248603"/>
                </a:lnTo>
                <a:lnTo>
                  <a:pt x="472250" y="57456"/>
                </a:lnTo>
                <a:cubicBezTo>
                  <a:pt x="479587" y="55200"/>
                  <a:pt x="487908" y="53358"/>
                  <a:pt x="497213" y="51931"/>
                </a:cubicBezTo>
                <a:cubicBezTo>
                  <a:pt x="506519" y="50504"/>
                  <a:pt x="515876" y="49767"/>
                  <a:pt x="525285" y="49721"/>
                </a:cubicBezTo>
                <a:close/>
                <a:moveTo>
                  <a:pt x="283988" y="49721"/>
                </a:moveTo>
                <a:cubicBezTo>
                  <a:pt x="293788" y="49704"/>
                  <a:pt x="302432" y="50567"/>
                  <a:pt x="309919" y="52311"/>
                </a:cubicBezTo>
                <a:cubicBezTo>
                  <a:pt x="317405" y="54055"/>
                  <a:pt x="323770" y="56782"/>
                  <a:pt x="329013" y="60494"/>
                </a:cubicBezTo>
                <a:cubicBezTo>
                  <a:pt x="336925" y="57024"/>
                  <a:pt x="344924" y="54365"/>
                  <a:pt x="353010" y="52518"/>
                </a:cubicBezTo>
                <a:cubicBezTo>
                  <a:pt x="361095" y="50671"/>
                  <a:pt x="369025" y="49739"/>
                  <a:pt x="376800" y="49721"/>
                </a:cubicBezTo>
                <a:cubicBezTo>
                  <a:pt x="399813" y="49842"/>
                  <a:pt x="416006" y="54503"/>
                  <a:pt x="425381" y="63705"/>
                </a:cubicBezTo>
                <a:cubicBezTo>
                  <a:pt x="434755" y="72907"/>
                  <a:pt x="439278" y="85924"/>
                  <a:pt x="438950" y="102757"/>
                </a:cubicBezTo>
                <a:lnTo>
                  <a:pt x="438950" y="195568"/>
                </a:lnTo>
                <a:lnTo>
                  <a:pt x="408565" y="195568"/>
                </a:lnTo>
                <a:lnTo>
                  <a:pt x="408565" y="107176"/>
                </a:lnTo>
                <a:cubicBezTo>
                  <a:pt x="408715" y="96800"/>
                  <a:pt x="406137" y="88963"/>
                  <a:pt x="400831" y="83662"/>
                </a:cubicBezTo>
                <a:cubicBezTo>
                  <a:pt x="395525" y="78362"/>
                  <a:pt x="386594" y="75704"/>
                  <a:pt x="374037" y="75686"/>
                </a:cubicBezTo>
                <a:cubicBezTo>
                  <a:pt x="369031" y="75698"/>
                  <a:pt x="363990" y="76227"/>
                  <a:pt x="358914" y="77275"/>
                </a:cubicBezTo>
                <a:cubicBezTo>
                  <a:pt x="353838" y="78322"/>
                  <a:pt x="348935" y="79818"/>
                  <a:pt x="344205" y="81763"/>
                </a:cubicBezTo>
                <a:cubicBezTo>
                  <a:pt x="346093" y="87794"/>
                  <a:pt x="347013" y="94792"/>
                  <a:pt x="346967" y="102757"/>
                </a:cubicBezTo>
                <a:lnTo>
                  <a:pt x="346967" y="195568"/>
                </a:lnTo>
                <a:lnTo>
                  <a:pt x="316582" y="195568"/>
                </a:lnTo>
                <a:lnTo>
                  <a:pt x="316582" y="106900"/>
                </a:lnTo>
                <a:cubicBezTo>
                  <a:pt x="316738" y="96657"/>
                  <a:pt x="314079" y="88899"/>
                  <a:pt x="308607" y="83628"/>
                </a:cubicBezTo>
                <a:cubicBezTo>
                  <a:pt x="303134" y="78357"/>
                  <a:pt x="293915" y="75710"/>
                  <a:pt x="280949" y="75686"/>
                </a:cubicBezTo>
                <a:cubicBezTo>
                  <a:pt x="276639" y="75686"/>
                  <a:pt x="272277" y="75894"/>
                  <a:pt x="267863" y="76308"/>
                </a:cubicBezTo>
                <a:cubicBezTo>
                  <a:pt x="263450" y="76722"/>
                  <a:pt x="259157" y="77344"/>
                  <a:pt x="254984" y="78173"/>
                </a:cubicBezTo>
                <a:lnTo>
                  <a:pt x="254984" y="195568"/>
                </a:lnTo>
                <a:lnTo>
                  <a:pt x="224600" y="195568"/>
                </a:lnTo>
                <a:lnTo>
                  <a:pt x="224600" y="57456"/>
                </a:lnTo>
                <a:cubicBezTo>
                  <a:pt x="234360" y="55079"/>
                  <a:pt x="244327" y="53203"/>
                  <a:pt x="254501" y="51828"/>
                </a:cubicBezTo>
                <a:cubicBezTo>
                  <a:pt x="264675" y="50452"/>
                  <a:pt x="274504" y="49750"/>
                  <a:pt x="283988" y="49721"/>
                </a:cubicBezTo>
                <a:close/>
                <a:moveTo>
                  <a:pt x="944528" y="28452"/>
                </a:moveTo>
                <a:cubicBezTo>
                  <a:pt x="941173" y="28435"/>
                  <a:pt x="937593" y="28538"/>
                  <a:pt x="933789" y="28763"/>
                </a:cubicBezTo>
                <a:cubicBezTo>
                  <a:pt x="929986" y="28987"/>
                  <a:pt x="926199" y="29436"/>
                  <a:pt x="922430" y="30109"/>
                </a:cubicBezTo>
                <a:lnTo>
                  <a:pt x="922430" y="101375"/>
                </a:lnTo>
                <a:lnTo>
                  <a:pt x="945633" y="101375"/>
                </a:lnTo>
                <a:cubicBezTo>
                  <a:pt x="960790" y="101312"/>
                  <a:pt x="972047" y="98193"/>
                  <a:pt x="979401" y="92018"/>
                </a:cubicBezTo>
                <a:cubicBezTo>
                  <a:pt x="986756" y="85844"/>
                  <a:pt x="990416" y="76993"/>
                  <a:pt x="990381" y="65466"/>
                </a:cubicBezTo>
                <a:cubicBezTo>
                  <a:pt x="990439" y="52927"/>
                  <a:pt x="986733" y="43616"/>
                  <a:pt x="979263" y="37533"/>
                </a:cubicBezTo>
                <a:cubicBezTo>
                  <a:pt x="971793" y="31450"/>
                  <a:pt x="960215" y="28423"/>
                  <a:pt x="944528" y="28452"/>
                </a:cubicBezTo>
                <a:close/>
                <a:moveTo>
                  <a:pt x="2005917" y="4420"/>
                </a:moveTo>
                <a:lnTo>
                  <a:pt x="2120275" y="4420"/>
                </a:lnTo>
                <a:cubicBezTo>
                  <a:pt x="2119998" y="8558"/>
                  <a:pt x="2119584" y="13127"/>
                  <a:pt x="2119032" y="18128"/>
                </a:cubicBezTo>
                <a:cubicBezTo>
                  <a:pt x="2118479" y="23129"/>
                  <a:pt x="2117789" y="27767"/>
                  <a:pt x="2116960" y="32043"/>
                </a:cubicBezTo>
                <a:lnTo>
                  <a:pt x="2036855" y="32043"/>
                </a:lnTo>
                <a:lnTo>
                  <a:pt x="2036855" y="85631"/>
                </a:lnTo>
                <a:lnTo>
                  <a:pt x="2115026" y="85631"/>
                </a:lnTo>
                <a:cubicBezTo>
                  <a:pt x="2114750" y="89636"/>
                  <a:pt x="2114336" y="94124"/>
                  <a:pt x="2113783" y="99097"/>
                </a:cubicBezTo>
                <a:cubicBezTo>
                  <a:pt x="2113231" y="104069"/>
                  <a:pt x="2112540" y="108695"/>
                  <a:pt x="2111712" y="112977"/>
                </a:cubicBezTo>
                <a:lnTo>
                  <a:pt x="2036855" y="112977"/>
                </a:lnTo>
                <a:lnTo>
                  <a:pt x="2036855" y="195568"/>
                </a:lnTo>
                <a:lnTo>
                  <a:pt x="2005917" y="195568"/>
                </a:lnTo>
                <a:close/>
                <a:moveTo>
                  <a:pt x="1902809" y="2211"/>
                </a:moveTo>
                <a:lnTo>
                  <a:pt x="1902809" y="195568"/>
                </a:lnTo>
                <a:lnTo>
                  <a:pt x="1872425" y="195568"/>
                </a:lnTo>
                <a:lnTo>
                  <a:pt x="1872425" y="6630"/>
                </a:lnTo>
                <a:cubicBezTo>
                  <a:pt x="1876488" y="5479"/>
                  <a:pt x="1881345" y="4466"/>
                  <a:pt x="1886996" y="3592"/>
                </a:cubicBezTo>
                <a:cubicBezTo>
                  <a:pt x="1892647" y="2717"/>
                  <a:pt x="1897918" y="2257"/>
                  <a:pt x="1902809" y="2211"/>
                </a:cubicBezTo>
                <a:close/>
                <a:moveTo>
                  <a:pt x="655034" y="2211"/>
                </a:moveTo>
                <a:lnTo>
                  <a:pt x="655034" y="195568"/>
                </a:lnTo>
                <a:lnTo>
                  <a:pt x="624650" y="195568"/>
                </a:lnTo>
                <a:lnTo>
                  <a:pt x="624650" y="6630"/>
                </a:lnTo>
                <a:cubicBezTo>
                  <a:pt x="628712" y="5479"/>
                  <a:pt x="633569" y="4466"/>
                  <a:pt x="639221" y="3592"/>
                </a:cubicBezTo>
                <a:cubicBezTo>
                  <a:pt x="644872" y="2717"/>
                  <a:pt x="650143" y="2257"/>
                  <a:pt x="655034" y="2211"/>
                </a:cubicBezTo>
                <a:close/>
                <a:moveTo>
                  <a:pt x="943423" y="1382"/>
                </a:moveTo>
                <a:cubicBezTo>
                  <a:pt x="963261" y="1532"/>
                  <a:pt x="978921" y="4393"/>
                  <a:pt x="990401" y="9965"/>
                </a:cubicBezTo>
                <a:cubicBezTo>
                  <a:pt x="1001882" y="15538"/>
                  <a:pt x="1010032" y="22921"/>
                  <a:pt x="1014852" y="32115"/>
                </a:cubicBezTo>
                <a:cubicBezTo>
                  <a:pt x="1019673" y="41308"/>
                  <a:pt x="1022012" y="51413"/>
                  <a:pt x="1021871" y="62428"/>
                </a:cubicBezTo>
                <a:cubicBezTo>
                  <a:pt x="1021715" y="83283"/>
                  <a:pt x="1015051" y="99373"/>
                  <a:pt x="1001879" y="110698"/>
                </a:cubicBezTo>
                <a:cubicBezTo>
                  <a:pt x="988706" y="122023"/>
                  <a:pt x="969958" y="127755"/>
                  <a:pt x="945633" y="127893"/>
                </a:cubicBezTo>
                <a:lnTo>
                  <a:pt x="922430" y="127893"/>
                </a:lnTo>
                <a:lnTo>
                  <a:pt x="922430" y="195292"/>
                </a:lnTo>
                <a:lnTo>
                  <a:pt x="891492" y="195292"/>
                </a:lnTo>
                <a:lnTo>
                  <a:pt x="891492" y="6906"/>
                </a:lnTo>
                <a:cubicBezTo>
                  <a:pt x="898473" y="5347"/>
                  <a:pt x="906610" y="4046"/>
                  <a:pt x="915904" y="3005"/>
                </a:cubicBezTo>
                <a:cubicBezTo>
                  <a:pt x="925198" y="1963"/>
                  <a:pt x="934371" y="1422"/>
                  <a:pt x="943423" y="1382"/>
                </a:cubicBezTo>
                <a:close/>
                <a:moveTo>
                  <a:pt x="2316242" y="1106"/>
                </a:moveTo>
                <a:cubicBezTo>
                  <a:pt x="2321738" y="1215"/>
                  <a:pt x="2326215" y="2999"/>
                  <a:pt x="2329673" y="6458"/>
                </a:cubicBezTo>
                <a:cubicBezTo>
                  <a:pt x="2333132" y="9916"/>
                  <a:pt x="2334916" y="14393"/>
                  <a:pt x="2335025" y="19889"/>
                </a:cubicBezTo>
                <a:cubicBezTo>
                  <a:pt x="2334916" y="25385"/>
                  <a:pt x="2333132" y="29862"/>
                  <a:pt x="2329673" y="33320"/>
                </a:cubicBezTo>
                <a:cubicBezTo>
                  <a:pt x="2326215" y="36779"/>
                  <a:pt x="2321738" y="38563"/>
                  <a:pt x="2316242" y="38672"/>
                </a:cubicBezTo>
                <a:cubicBezTo>
                  <a:pt x="2310614" y="38563"/>
                  <a:pt x="2306056" y="36779"/>
                  <a:pt x="2302569" y="33320"/>
                </a:cubicBezTo>
                <a:cubicBezTo>
                  <a:pt x="2299082" y="29862"/>
                  <a:pt x="2297286" y="25385"/>
                  <a:pt x="2297183" y="19889"/>
                </a:cubicBezTo>
                <a:cubicBezTo>
                  <a:pt x="2297286" y="14393"/>
                  <a:pt x="2299082" y="9916"/>
                  <a:pt x="2302569" y="6458"/>
                </a:cubicBezTo>
                <a:cubicBezTo>
                  <a:pt x="2306056" y="2999"/>
                  <a:pt x="2310614" y="1215"/>
                  <a:pt x="2316242" y="1106"/>
                </a:cubicBezTo>
                <a:close/>
                <a:moveTo>
                  <a:pt x="173117" y="1106"/>
                </a:moveTo>
                <a:cubicBezTo>
                  <a:pt x="178613" y="1215"/>
                  <a:pt x="183090" y="2999"/>
                  <a:pt x="186549" y="6458"/>
                </a:cubicBezTo>
                <a:cubicBezTo>
                  <a:pt x="190007" y="9916"/>
                  <a:pt x="191791" y="14393"/>
                  <a:pt x="191900" y="19889"/>
                </a:cubicBezTo>
                <a:cubicBezTo>
                  <a:pt x="191791" y="25385"/>
                  <a:pt x="190007" y="29862"/>
                  <a:pt x="186549" y="33320"/>
                </a:cubicBezTo>
                <a:cubicBezTo>
                  <a:pt x="183090" y="36779"/>
                  <a:pt x="178613" y="38563"/>
                  <a:pt x="173117" y="38672"/>
                </a:cubicBezTo>
                <a:cubicBezTo>
                  <a:pt x="167489" y="38563"/>
                  <a:pt x="162931" y="36779"/>
                  <a:pt x="159444" y="33320"/>
                </a:cubicBezTo>
                <a:cubicBezTo>
                  <a:pt x="155957" y="29862"/>
                  <a:pt x="154161" y="25385"/>
                  <a:pt x="154058" y="19889"/>
                </a:cubicBezTo>
                <a:cubicBezTo>
                  <a:pt x="154161" y="14393"/>
                  <a:pt x="155957" y="9916"/>
                  <a:pt x="159444" y="6458"/>
                </a:cubicBezTo>
                <a:cubicBezTo>
                  <a:pt x="162931" y="2999"/>
                  <a:pt x="167489" y="1215"/>
                  <a:pt x="173117" y="1106"/>
                </a:cubicBezTo>
                <a:close/>
                <a:moveTo>
                  <a:pt x="68228" y="1"/>
                </a:moveTo>
                <a:cubicBezTo>
                  <a:pt x="77205" y="-11"/>
                  <a:pt x="85906" y="634"/>
                  <a:pt x="94331" y="1934"/>
                </a:cubicBezTo>
                <a:cubicBezTo>
                  <a:pt x="102756" y="3235"/>
                  <a:pt x="110904" y="5261"/>
                  <a:pt x="118777" y="8011"/>
                </a:cubicBezTo>
                <a:cubicBezTo>
                  <a:pt x="118357" y="13496"/>
                  <a:pt x="117678" y="18479"/>
                  <a:pt x="116740" y="22962"/>
                </a:cubicBezTo>
                <a:cubicBezTo>
                  <a:pt x="115802" y="27445"/>
                  <a:pt x="114639" y="31669"/>
                  <a:pt x="113252" y="35634"/>
                </a:cubicBezTo>
                <a:cubicBezTo>
                  <a:pt x="105633" y="32883"/>
                  <a:pt x="97807" y="30857"/>
                  <a:pt x="89773" y="29557"/>
                </a:cubicBezTo>
                <a:cubicBezTo>
                  <a:pt x="81740" y="28256"/>
                  <a:pt x="74466" y="27612"/>
                  <a:pt x="67951" y="27623"/>
                </a:cubicBezTo>
                <a:cubicBezTo>
                  <a:pt x="55976" y="27710"/>
                  <a:pt x="47125" y="29885"/>
                  <a:pt x="41399" y="34149"/>
                </a:cubicBezTo>
                <a:cubicBezTo>
                  <a:pt x="35673" y="38413"/>
                  <a:pt x="32831" y="44249"/>
                  <a:pt x="32871" y="51655"/>
                </a:cubicBezTo>
                <a:cubicBezTo>
                  <a:pt x="32917" y="58710"/>
                  <a:pt x="35518" y="64626"/>
                  <a:pt x="40674" y="69402"/>
                </a:cubicBezTo>
                <a:cubicBezTo>
                  <a:pt x="45831" y="74179"/>
                  <a:pt x="53266" y="78575"/>
                  <a:pt x="62979" y="82592"/>
                </a:cubicBezTo>
                <a:lnTo>
                  <a:pt x="77896" y="88945"/>
                </a:lnTo>
                <a:cubicBezTo>
                  <a:pt x="95315" y="96190"/>
                  <a:pt x="107987" y="104282"/>
                  <a:pt x="115911" y="113219"/>
                </a:cubicBezTo>
                <a:cubicBezTo>
                  <a:pt x="123835" y="122156"/>
                  <a:pt x="127737" y="133216"/>
                  <a:pt x="127616" y="146400"/>
                </a:cubicBezTo>
                <a:cubicBezTo>
                  <a:pt x="127593" y="162530"/>
                  <a:pt x="121631" y="175432"/>
                  <a:pt x="109731" y="185106"/>
                </a:cubicBezTo>
                <a:cubicBezTo>
                  <a:pt x="97830" y="194780"/>
                  <a:pt x="80128" y="199740"/>
                  <a:pt x="56626" y="199988"/>
                </a:cubicBezTo>
                <a:cubicBezTo>
                  <a:pt x="45324" y="199999"/>
                  <a:pt x="34989" y="199148"/>
                  <a:pt x="25620" y="197433"/>
                </a:cubicBezTo>
                <a:cubicBezTo>
                  <a:pt x="16251" y="195718"/>
                  <a:pt x="7711" y="193071"/>
                  <a:pt x="0" y="189491"/>
                </a:cubicBezTo>
                <a:cubicBezTo>
                  <a:pt x="271" y="183926"/>
                  <a:pt x="835" y="178966"/>
                  <a:pt x="1692" y="174610"/>
                </a:cubicBezTo>
                <a:cubicBezTo>
                  <a:pt x="2550" y="170253"/>
                  <a:pt x="3735" y="165914"/>
                  <a:pt x="5248" y="161592"/>
                </a:cubicBezTo>
                <a:cubicBezTo>
                  <a:pt x="13173" y="165183"/>
                  <a:pt x="21632" y="167877"/>
                  <a:pt x="30627" y="169672"/>
                </a:cubicBezTo>
                <a:cubicBezTo>
                  <a:pt x="39621" y="171467"/>
                  <a:pt x="48012" y="172365"/>
                  <a:pt x="55798" y="172365"/>
                </a:cubicBezTo>
                <a:cubicBezTo>
                  <a:pt x="68705" y="172359"/>
                  <a:pt x="78592" y="170299"/>
                  <a:pt x="85457" y="166185"/>
                </a:cubicBezTo>
                <a:cubicBezTo>
                  <a:pt x="92323" y="162070"/>
                  <a:pt x="95787" y="155936"/>
                  <a:pt x="95850" y="147781"/>
                </a:cubicBezTo>
                <a:cubicBezTo>
                  <a:pt x="95954" y="140030"/>
                  <a:pt x="93123" y="133642"/>
                  <a:pt x="87356" y="128618"/>
                </a:cubicBezTo>
                <a:cubicBezTo>
                  <a:pt x="81590" y="123594"/>
                  <a:pt x="72268" y="118381"/>
                  <a:pt x="59388" y="112977"/>
                </a:cubicBezTo>
                <a:lnTo>
                  <a:pt x="45301" y="106900"/>
                </a:lnTo>
                <a:cubicBezTo>
                  <a:pt x="32123" y="101473"/>
                  <a:pt x="21603" y="94510"/>
                  <a:pt x="13742" y="86010"/>
                </a:cubicBezTo>
                <a:cubicBezTo>
                  <a:pt x="5881" y="77511"/>
                  <a:pt x="1853" y="66059"/>
                  <a:pt x="1657" y="51655"/>
                </a:cubicBezTo>
                <a:cubicBezTo>
                  <a:pt x="1634" y="35726"/>
                  <a:pt x="7136" y="23181"/>
                  <a:pt x="18162" y="14019"/>
                </a:cubicBezTo>
                <a:cubicBezTo>
                  <a:pt x="29188" y="4858"/>
                  <a:pt x="45877" y="185"/>
                  <a:pt x="68228"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 name="Forma libre: forma 18">
            <a:extLst>
              <a:ext uri="{FF2B5EF4-FFF2-40B4-BE49-F238E27FC236}">
                <a16:creationId xmlns:a16="http://schemas.microsoft.com/office/drawing/2014/main" id="{B61CF4CC-ED27-4967-A11A-B838DFD4D9A3}"/>
              </a:ext>
            </a:extLst>
          </p:cNvPr>
          <p:cNvSpPr/>
          <p:nvPr userDrawn="1"/>
        </p:nvSpPr>
        <p:spPr>
          <a:xfrm>
            <a:off x="0" y="5229922"/>
            <a:ext cx="12192000" cy="1628078"/>
          </a:xfrm>
          <a:custGeom>
            <a:avLst/>
            <a:gdLst>
              <a:gd name="connsiteX0" fmla="*/ 8943278 w 12192000"/>
              <a:gd name="connsiteY0" fmla="*/ 0 h 1628078"/>
              <a:gd name="connsiteX1" fmla="*/ 12192000 w 12192000"/>
              <a:gd name="connsiteY1" fmla="*/ 0 h 1628078"/>
              <a:gd name="connsiteX2" fmla="*/ 12192000 w 12192000"/>
              <a:gd name="connsiteY2" fmla="*/ 1628078 h 1628078"/>
              <a:gd name="connsiteX3" fmla="*/ 0 w 12192000"/>
              <a:gd name="connsiteY3" fmla="*/ 1628078 h 1628078"/>
              <a:gd name="connsiteX4" fmla="*/ 0 w 12192000"/>
              <a:gd name="connsiteY4" fmla="*/ 1226634 h 1628078"/>
              <a:gd name="connsiteX5" fmla="*/ 8943278 w 12192000"/>
              <a:gd name="connsiteY5" fmla="*/ 1226634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628078">
                <a:moveTo>
                  <a:pt x="8943278" y="0"/>
                </a:moveTo>
                <a:lnTo>
                  <a:pt x="12192000" y="0"/>
                </a:lnTo>
                <a:lnTo>
                  <a:pt x="12192000" y="1628078"/>
                </a:lnTo>
                <a:lnTo>
                  <a:pt x="0" y="1628078"/>
                </a:lnTo>
                <a:lnTo>
                  <a:pt x="0" y="1226634"/>
                </a:lnTo>
                <a:lnTo>
                  <a:pt x="8943278" y="1226634"/>
                </a:lnTo>
                <a:close/>
              </a:path>
            </a:pathLst>
          </a:cu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026" name="Picture 2" descr="Resultado de imagen de DJSI Member Log">
            <a:extLst>
              <a:ext uri="{FF2B5EF4-FFF2-40B4-BE49-F238E27FC236}">
                <a16:creationId xmlns:a16="http://schemas.microsoft.com/office/drawing/2014/main" id="{892B8B9E-DEBC-4365-A4A8-EB9654BA309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796918" y="5573143"/>
            <a:ext cx="1347482" cy="455449"/>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upo 19">
            <a:extLst>
              <a:ext uri="{FF2B5EF4-FFF2-40B4-BE49-F238E27FC236}">
                <a16:creationId xmlns:a16="http://schemas.microsoft.com/office/drawing/2014/main" id="{246620ED-93B0-4966-8E36-4B883B49E634}"/>
              </a:ext>
            </a:extLst>
          </p:cNvPr>
          <p:cNvGrpSpPr/>
          <p:nvPr userDrawn="1"/>
        </p:nvGrpSpPr>
        <p:grpSpPr>
          <a:xfrm>
            <a:off x="7612559" y="5573576"/>
            <a:ext cx="578707" cy="455017"/>
            <a:chOff x="2203451" y="-4230356"/>
            <a:chExt cx="6896100" cy="5422158"/>
          </a:xfrm>
        </p:grpSpPr>
        <p:pic>
          <p:nvPicPr>
            <p:cNvPr id="22" name="Imagen 21" descr="Imagen relacionada">
              <a:extLst>
                <a:ext uri="{FF2B5EF4-FFF2-40B4-BE49-F238E27FC236}">
                  <a16:creationId xmlns:a16="http://schemas.microsoft.com/office/drawing/2014/main" id="{E4D48186-AF8E-4052-97D2-CCAFD0E1AC76}"/>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758085" y="-4230356"/>
              <a:ext cx="3798276" cy="3838472"/>
            </a:xfrm>
            <a:custGeom>
              <a:avLst/>
              <a:gdLst>
                <a:gd name="connsiteX0" fmla="*/ 1899138 w 3798276"/>
                <a:gd name="connsiteY0" fmla="*/ 0 h 3838472"/>
                <a:gd name="connsiteX1" fmla="*/ 3798276 w 3798276"/>
                <a:gd name="connsiteY1" fmla="*/ 1919236 h 3838472"/>
                <a:gd name="connsiteX2" fmla="*/ 1899138 w 3798276"/>
                <a:gd name="connsiteY2" fmla="*/ 3838472 h 3838472"/>
                <a:gd name="connsiteX3" fmla="*/ 0 w 3798276"/>
                <a:gd name="connsiteY3" fmla="*/ 1919236 h 3838472"/>
                <a:gd name="connsiteX4" fmla="*/ 1899138 w 3798276"/>
                <a:gd name="connsiteY4" fmla="*/ 0 h 38384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8276" h="3838472">
                  <a:moveTo>
                    <a:pt x="1899138" y="0"/>
                  </a:moveTo>
                  <a:cubicBezTo>
                    <a:pt x="2948003" y="0"/>
                    <a:pt x="3798276" y="859271"/>
                    <a:pt x="3798276" y="1919236"/>
                  </a:cubicBezTo>
                  <a:cubicBezTo>
                    <a:pt x="3798276" y="2979201"/>
                    <a:pt x="2948003" y="3838472"/>
                    <a:pt x="1899138" y="3838472"/>
                  </a:cubicBezTo>
                  <a:cubicBezTo>
                    <a:pt x="850273" y="3838472"/>
                    <a:pt x="0" y="2979201"/>
                    <a:pt x="0" y="1919236"/>
                  </a:cubicBezTo>
                  <a:cubicBezTo>
                    <a:pt x="0" y="859271"/>
                    <a:pt x="850273" y="0"/>
                    <a:pt x="1899138" y="0"/>
                  </a:cubicBezTo>
                  <a:close/>
                </a:path>
              </a:pathLst>
            </a:custGeom>
            <a:noFill/>
            <a:extLst>
              <a:ext uri="{909E8E84-426E-40DD-AFC4-6F175D3DCCD1}">
                <a14:hiddenFill xmlns:a14="http://schemas.microsoft.com/office/drawing/2010/main">
                  <a:solidFill>
                    <a:srgbClr val="FFFFFF"/>
                  </a:solidFill>
                </a14:hiddenFill>
              </a:ext>
            </a:extLst>
          </p:spPr>
        </p:pic>
        <p:pic>
          <p:nvPicPr>
            <p:cNvPr id="24" name="Imagen 23" descr="Imagen relacionada">
              <a:extLst>
                <a:ext uri="{FF2B5EF4-FFF2-40B4-BE49-F238E27FC236}">
                  <a16:creationId xmlns:a16="http://schemas.microsoft.com/office/drawing/2014/main" id="{411507B2-E393-4DDC-B151-70751F9943CB}"/>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2203451" y="0"/>
              <a:ext cx="6896100" cy="1191802"/>
            </a:xfrm>
            <a:custGeom>
              <a:avLst/>
              <a:gdLst>
                <a:gd name="connsiteX0" fmla="*/ 0 w 6896100"/>
                <a:gd name="connsiteY0" fmla="*/ 0 h 1191802"/>
                <a:gd name="connsiteX1" fmla="*/ 6896100 w 6896100"/>
                <a:gd name="connsiteY1" fmla="*/ 0 h 1191802"/>
                <a:gd name="connsiteX2" fmla="*/ 6896100 w 6896100"/>
                <a:gd name="connsiteY2" fmla="*/ 1191802 h 1191802"/>
                <a:gd name="connsiteX3" fmla="*/ 0 w 6896100"/>
                <a:gd name="connsiteY3" fmla="*/ 1191802 h 1191802"/>
              </a:gdLst>
              <a:ahLst/>
              <a:cxnLst>
                <a:cxn ang="0">
                  <a:pos x="connsiteX0" y="connsiteY0"/>
                </a:cxn>
                <a:cxn ang="0">
                  <a:pos x="connsiteX1" y="connsiteY1"/>
                </a:cxn>
                <a:cxn ang="0">
                  <a:pos x="connsiteX2" y="connsiteY2"/>
                </a:cxn>
                <a:cxn ang="0">
                  <a:pos x="connsiteX3" y="connsiteY3"/>
                </a:cxn>
              </a:cxnLst>
              <a:rect l="l" t="t" r="r" b="b"/>
              <a:pathLst>
                <a:path w="6896100" h="1191802">
                  <a:moveTo>
                    <a:pt x="0" y="0"/>
                  </a:moveTo>
                  <a:lnTo>
                    <a:pt x="6896100" y="0"/>
                  </a:lnTo>
                  <a:lnTo>
                    <a:pt x="6896100" y="1191802"/>
                  </a:lnTo>
                  <a:lnTo>
                    <a:pt x="0" y="1191802"/>
                  </a:lnTo>
                  <a:close/>
                </a:path>
              </a:pathLst>
            </a:custGeom>
            <a:noFill/>
            <a:extLst>
              <a:ext uri="{909E8E84-426E-40DD-AFC4-6F175D3DCCD1}">
                <a14:hiddenFill xmlns:a14="http://schemas.microsoft.com/office/drawing/2010/main">
                  <a:solidFill>
                    <a:srgbClr val="FFFFFF"/>
                  </a:solidFill>
                </a14:hiddenFill>
              </a:ext>
            </a:extLst>
          </p:spPr>
        </p:pic>
      </p:grpSp>
      <p:sp>
        <p:nvSpPr>
          <p:cNvPr id="28" name="CuadroTexto 27">
            <a:extLst>
              <a:ext uri="{FF2B5EF4-FFF2-40B4-BE49-F238E27FC236}">
                <a16:creationId xmlns:a16="http://schemas.microsoft.com/office/drawing/2014/main" id="{68E35268-345F-47C7-ADB2-CE92421E8EED}"/>
              </a:ext>
            </a:extLst>
          </p:cNvPr>
          <p:cNvSpPr txBox="1"/>
          <p:nvPr userDrawn="1"/>
        </p:nvSpPr>
        <p:spPr>
          <a:xfrm>
            <a:off x="721506" y="628193"/>
            <a:ext cx="3365478" cy="707886"/>
          </a:xfrm>
          <a:prstGeom prst="rect">
            <a:avLst/>
          </a:prstGeom>
          <a:noFill/>
        </p:spPr>
        <p:txBody>
          <a:bodyPr wrap="square" rtlCol="0">
            <a:spAutoFit/>
          </a:bodyPr>
          <a:lstStyle/>
          <a:p>
            <a:r>
              <a:rPr lang="en-US" sz="4000" dirty="0">
                <a:solidFill>
                  <a:srgbClr val="EC0000"/>
                </a:solidFill>
              </a:rPr>
              <a:t>Thank You.</a:t>
            </a:r>
          </a:p>
        </p:txBody>
      </p:sp>
      <p:sp>
        <p:nvSpPr>
          <p:cNvPr id="31" name="Forma libre: forma 30">
            <a:extLst>
              <a:ext uri="{FF2B5EF4-FFF2-40B4-BE49-F238E27FC236}">
                <a16:creationId xmlns:a16="http://schemas.microsoft.com/office/drawing/2014/main" id="{073BDF73-2FC7-4E8C-B95B-B68B9F5D3BE9}"/>
              </a:ext>
            </a:extLst>
          </p:cNvPr>
          <p:cNvSpPr/>
          <p:nvPr userDrawn="1"/>
        </p:nvSpPr>
        <p:spPr>
          <a:xfrm>
            <a:off x="0" y="5229922"/>
            <a:ext cx="12196689" cy="1628078"/>
          </a:xfrm>
          <a:custGeom>
            <a:avLst/>
            <a:gdLst>
              <a:gd name="connsiteX0" fmla="*/ 8932985 w 12196689"/>
              <a:gd name="connsiteY0" fmla="*/ 0 h 1628078"/>
              <a:gd name="connsiteX1" fmla="*/ 12196689 w 12196689"/>
              <a:gd name="connsiteY1" fmla="*/ 0 h 1628078"/>
              <a:gd name="connsiteX2" fmla="*/ 12196689 w 12196689"/>
              <a:gd name="connsiteY2" fmla="*/ 1628078 h 1628078"/>
              <a:gd name="connsiteX3" fmla="*/ 0 w 12196689"/>
              <a:gd name="connsiteY3" fmla="*/ 1628078 h 1628078"/>
              <a:gd name="connsiteX4" fmla="*/ 0 w 12196689"/>
              <a:gd name="connsiteY4" fmla="*/ 1213081 h 1628078"/>
              <a:gd name="connsiteX5" fmla="*/ 8932985 w 12196689"/>
              <a:gd name="connsiteY5" fmla="*/ 1213081 h 162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6689" h="1628078">
                <a:moveTo>
                  <a:pt x="8932985" y="0"/>
                </a:moveTo>
                <a:lnTo>
                  <a:pt x="12196689" y="0"/>
                </a:lnTo>
                <a:lnTo>
                  <a:pt x="12196689" y="1628078"/>
                </a:lnTo>
                <a:lnTo>
                  <a:pt x="0" y="1628078"/>
                </a:lnTo>
                <a:lnTo>
                  <a:pt x="0" y="1213081"/>
                </a:lnTo>
                <a:lnTo>
                  <a:pt x="8932985" y="121308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13" name="CuadroTexto 22">
            <a:extLst>
              <a:ext uri="{FF2B5EF4-FFF2-40B4-BE49-F238E27FC236}">
                <a16:creationId xmlns:a16="http://schemas.microsoft.com/office/drawing/2014/main" id="{ED8DE98D-F6CC-430D-8114-C2C3604EE89D}"/>
              </a:ext>
            </a:extLst>
          </p:cNvPr>
          <p:cNvSpPr txBox="1"/>
          <p:nvPr userDrawn="1"/>
        </p:nvSpPr>
        <p:spPr>
          <a:xfrm>
            <a:off x="719288" y="1945649"/>
            <a:ext cx="3365478" cy="116955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595959"/>
                </a:solidFill>
              </a:rPr>
              <a:t>Our purpose is to help people and businesses prosper.</a:t>
            </a:r>
          </a:p>
          <a:p>
            <a:endParaRPr lang="en-US" sz="1400" dirty="0">
              <a:solidFill>
                <a:srgbClr val="595959"/>
              </a:solidFill>
            </a:endParaRPr>
          </a:p>
          <a:p>
            <a:r>
              <a:rPr lang="en-US" sz="1400" dirty="0">
                <a:solidFill>
                  <a:srgbClr val="595959"/>
                </a:solidFill>
              </a:rPr>
              <a:t>Our culture is based on believing </a:t>
            </a:r>
            <a:br>
              <a:rPr lang="en-US" sz="1400" dirty="0">
                <a:solidFill>
                  <a:srgbClr val="595959"/>
                </a:solidFill>
              </a:rPr>
            </a:br>
            <a:r>
              <a:rPr lang="en-US" sz="1400" dirty="0">
                <a:solidFill>
                  <a:srgbClr val="595959"/>
                </a:solidFill>
              </a:rPr>
              <a:t>that everything we do should be:</a:t>
            </a:r>
          </a:p>
        </p:txBody>
      </p:sp>
      <p:sp>
        <p:nvSpPr>
          <p:cNvPr id="12" name="object 2">
            <a:extLst>
              <a:ext uri="{FF2B5EF4-FFF2-40B4-BE49-F238E27FC236}">
                <a16:creationId xmlns:a16="http://schemas.microsoft.com/office/drawing/2014/main" id="{C54BFAD8-1634-41ED-B46C-F890F528E59E}"/>
              </a:ext>
            </a:extLst>
          </p:cNvPr>
          <p:cNvSpPr/>
          <p:nvPr userDrawn="1"/>
        </p:nvSpPr>
        <p:spPr>
          <a:xfrm>
            <a:off x="711025" y="5652655"/>
            <a:ext cx="2093356" cy="391306"/>
          </a:xfrm>
          <a:prstGeom prst="rect">
            <a:avLst/>
          </a:prstGeom>
          <a:blipFill>
            <a:blip r:embed="rId5" cstate="print"/>
            <a:stretch>
              <a:fillRect/>
            </a:stretch>
          </a:blipFill>
        </p:spPr>
        <p:txBody>
          <a:bodyPr wrap="square" lIns="0" tIns="0" rIns="0" bIns="0" rtlCol="0"/>
          <a:lstStyle/>
          <a:p>
            <a:endParaRPr sz="1600" dirty="0"/>
          </a:p>
        </p:txBody>
      </p:sp>
    </p:spTree>
    <p:extLst>
      <p:ext uri="{BB962C8B-B14F-4D97-AF65-F5344CB8AC3E}">
        <p14:creationId xmlns:p14="http://schemas.microsoft.com/office/powerpoint/2010/main" val="300841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Header &amp; Content ">
    <p:spTree>
      <p:nvGrpSpPr>
        <p:cNvPr id="1" name=""/>
        <p:cNvGrpSpPr/>
        <p:nvPr/>
      </p:nvGrpSpPr>
      <p:grpSpPr>
        <a:xfrm>
          <a:off x="0" y="0"/>
          <a:ext cx="0" cy="0"/>
          <a:chOff x="0" y="0"/>
          <a:chExt cx="0" cy="0"/>
        </a:xfrm>
      </p:grpSpPr>
      <p:sp>
        <p:nvSpPr>
          <p:cNvPr id="8" name="Rectangle 7"/>
          <p:cNvSpPr/>
          <p:nvPr userDrawn="1"/>
        </p:nvSpPr>
        <p:spPr>
          <a:xfrm>
            <a:off x="3275636" y="0"/>
            <a:ext cx="8916366" cy="6858000"/>
          </a:xfrm>
          <a:prstGeom prst="rect">
            <a:avLst/>
          </a:prstGeom>
          <a:gradFill flip="none" rotWithShape="1">
            <a:gsLst>
              <a:gs pos="0">
                <a:schemeClr val="bg1"/>
              </a:gs>
              <a:gs pos="29000">
                <a:srgbClr val="EDF5FD"/>
              </a:gs>
              <a:gs pos="52000">
                <a:srgbClr val="D2E7FA"/>
              </a:gs>
              <a:gs pos="100000">
                <a:srgbClr val="B6D7F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flipH="1">
            <a:off x="6921661" y="3066094"/>
            <a:ext cx="5270339" cy="3791906"/>
          </a:xfrm>
          <a:prstGeom prst="rect">
            <a:avLst/>
          </a:prstGeom>
        </p:spPr>
      </p:pic>
      <p:sp>
        <p:nvSpPr>
          <p:cNvPr id="4"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4038600" y="6302411"/>
            <a:ext cx="4114800" cy="365125"/>
          </a:xfrm>
          <a:prstGeom prst="rect">
            <a:avLst/>
          </a:prstGeom>
        </p:spPr>
        <p:txBody>
          <a:bodyPr vert="horz" lIns="91440" tIns="45720" rIns="91440" bIns="45720" rtlCol="0" anchor="ctr"/>
          <a:lstStyle>
            <a:lvl1pPr algn="ctr" eaLnBrk="1">
              <a:defRPr sz="900">
                <a:solidFill>
                  <a:schemeClr val="tx1">
                    <a:tint val="75000"/>
                  </a:schemeClr>
                </a:solidFill>
              </a:defRPr>
            </a:lvl1pPr>
          </a:lstStyle>
          <a:p>
            <a:r>
              <a:rPr lang="en-US" dirty="0">
                <a:solidFill>
                  <a:prstClr val="black">
                    <a:tint val="75000"/>
                  </a:prstClr>
                </a:solidFill>
              </a:rPr>
              <a:t>Restricted Confidential</a:t>
            </a:r>
          </a:p>
        </p:txBody>
      </p:sp>
      <p:sp>
        <p:nvSpPr>
          <p:cNvPr id="7"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838200" y="365125"/>
            <a:ext cx="10515600" cy="914400"/>
          </a:xfrm>
          <a:prstGeom prst="rect">
            <a:avLst/>
          </a:prstGeom>
        </p:spPr>
        <p:txBody>
          <a:bodyPr vert="horz" lIns="91440" tIns="45720" rIns="91440" bIns="45720" rtlCol="0" anchor="t">
            <a:noAutofit/>
          </a:bodyPr>
          <a:lstStyle>
            <a:lvl1pPr>
              <a:defRPr sz="2800"/>
            </a:lvl1pPr>
          </a:lstStyle>
          <a:p>
            <a:r>
              <a:rPr lang="en-US" dirty="0"/>
              <a:t>Click to edit Master title style</a:t>
            </a:r>
          </a:p>
        </p:txBody>
      </p:sp>
      <p:sp>
        <p:nvSpPr>
          <p:cNvPr id="10" name="object 2">
            <a:extLst>
              <a:ext uri="{FF2B5EF4-FFF2-40B4-BE49-F238E27FC236}">
                <a16:creationId xmlns:a16="http://schemas.microsoft.com/office/drawing/2014/main" id="{62BD9CCF-FFC3-4655-8C1E-DAFE11B1E458}"/>
              </a:ext>
            </a:extLst>
          </p:cNvPr>
          <p:cNvSpPr/>
          <p:nvPr userDrawn="1"/>
        </p:nvSpPr>
        <p:spPr>
          <a:xfrm>
            <a:off x="711025" y="6248472"/>
            <a:ext cx="1342220" cy="250898"/>
          </a:xfrm>
          <a:prstGeom prst="rect">
            <a:avLst/>
          </a:prstGeom>
          <a:blipFill>
            <a:blip r:embed="rId3" cstate="print"/>
            <a:stretch>
              <a:fillRect/>
            </a:stretch>
          </a:blipFill>
        </p:spPr>
        <p:txBody>
          <a:bodyPr wrap="square" lIns="0" tIns="0" rIns="0" bIns="0" rtlCol="0"/>
          <a:lstStyle/>
          <a:p>
            <a:endParaRPr sz="1600" dirty="0"/>
          </a:p>
        </p:txBody>
      </p:sp>
    </p:spTree>
    <p:extLst>
      <p:ext uri="{BB962C8B-B14F-4D97-AF65-F5344CB8AC3E}">
        <p14:creationId xmlns:p14="http://schemas.microsoft.com/office/powerpoint/2010/main" val="48811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Header &amp; Content ">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dirty="0">
              <a:solidFill>
                <a:srgbClr val="FFFFFF"/>
              </a:solidFill>
              <a:sym typeface="Arial" panose="020B0604020202020204" pitchFamily="34" charset="0"/>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832642" y="1375324"/>
            <a:ext cx="10521158" cy="491239"/>
          </a:xfrm>
        </p:spPr>
        <p:txBody>
          <a:bodyPr>
            <a:noAutofit/>
          </a:bodyPr>
          <a:lstStyle>
            <a:lvl1pPr marL="0" indent="0">
              <a:buFontTx/>
              <a:buNone/>
              <a:defRPr sz="2000" b="1">
                <a:solidFill>
                  <a:schemeClr val="tx2"/>
                </a:solidFill>
                <a:latin typeface="+mj-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dirty="0"/>
              <a:t>Edit Master text styles</a:t>
            </a:r>
          </a:p>
        </p:txBody>
      </p:sp>
      <p:sp>
        <p:nvSpPr>
          <p:cNvPr id="6"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4038600" y="6302411"/>
            <a:ext cx="4114800" cy="365125"/>
          </a:xfrm>
          <a:prstGeom prst="rect">
            <a:avLst/>
          </a:prstGeom>
        </p:spPr>
        <p:txBody>
          <a:bodyPr vert="horz" lIns="91440" tIns="45720" rIns="91440" bIns="45720" rtlCol="0" anchor="ctr"/>
          <a:lstStyle>
            <a:lvl1pPr algn="ctr" eaLnBrk="1">
              <a:defRPr sz="900">
                <a:solidFill>
                  <a:schemeClr val="tx1">
                    <a:tint val="75000"/>
                  </a:schemeClr>
                </a:solidFill>
              </a:defRPr>
            </a:lvl1pPr>
          </a:lstStyle>
          <a:p>
            <a:r>
              <a:rPr lang="en-US" dirty="0">
                <a:solidFill>
                  <a:prstClr val="black">
                    <a:tint val="75000"/>
                  </a:prstClr>
                </a:solidFill>
              </a:rPr>
              <a:t>Restricted Confidential</a:t>
            </a:r>
          </a:p>
        </p:txBody>
      </p:sp>
      <p:sp>
        <p:nvSpPr>
          <p:cNvPr id="7" name="CuadroTexto 2">
            <a:extLst>
              <a:ext uri="{FF2B5EF4-FFF2-40B4-BE49-F238E27FC236}">
                <a16:creationId xmlns:a16="http://schemas.microsoft.com/office/drawing/2014/main" id="{408A7361-5E86-43BD-984F-C0489E52B69D}"/>
              </a:ext>
            </a:extLst>
          </p:cNvPr>
          <p:cNvSpPr txBox="1"/>
          <p:nvPr userDrawn="1"/>
        </p:nvSpPr>
        <p:spPr>
          <a:xfrm>
            <a:off x="9774724" y="6338779"/>
            <a:ext cx="1706251" cy="292388"/>
          </a:xfrm>
          <a:prstGeom prst="rect">
            <a:avLst/>
          </a:prstGeom>
          <a:noFill/>
        </p:spPr>
        <p:txBody>
          <a:bodyPr wrap="square" rtlCol="0" anchor="ctr" anchorCtr="0">
            <a:spAutoFit/>
          </a:bodyPr>
          <a:lstStyle/>
          <a:p>
            <a:pPr algn="r"/>
            <a:fld id="{DB0C6F71-F88D-45D5-A0AB-EA235CD66EB9}" type="slidenum">
              <a:rPr lang="en-US" sz="1300" smtClean="0">
                <a:solidFill>
                  <a:srgbClr val="EC0000"/>
                </a:solidFill>
              </a:rPr>
              <a:pPr algn="r"/>
              <a:t>‹#›</a:t>
            </a:fld>
            <a:endParaRPr lang="en-US" sz="1300" dirty="0">
              <a:solidFill>
                <a:srgbClr val="EC0000"/>
              </a:solidFill>
            </a:endParaRPr>
          </a:p>
        </p:txBody>
      </p:sp>
      <p:sp>
        <p:nvSpPr>
          <p:cNvPr id="8"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838200" y="365125"/>
            <a:ext cx="10515600" cy="914400"/>
          </a:xfrm>
          <a:prstGeom prst="rect">
            <a:avLst/>
          </a:prstGeom>
        </p:spPr>
        <p:txBody>
          <a:bodyPr vert="horz" lIns="91440" tIns="45720" rIns="91440" bIns="45720" rtlCol="0" anchor="t">
            <a:noAutofit/>
          </a:bodyPr>
          <a:lstStyle/>
          <a:p>
            <a:r>
              <a:rPr lang="en-US" dirty="0"/>
              <a:t>Click to edit Master title style</a:t>
            </a:r>
          </a:p>
        </p:txBody>
      </p:sp>
      <p:sp>
        <p:nvSpPr>
          <p:cNvPr id="10" name="object 2">
            <a:extLst>
              <a:ext uri="{FF2B5EF4-FFF2-40B4-BE49-F238E27FC236}">
                <a16:creationId xmlns:a16="http://schemas.microsoft.com/office/drawing/2014/main" id="{BBA77C8C-9108-4065-9B2C-28AC393261B9}"/>
              </a:ext>
            </a:extLst>
          </p:cNvPr>
          <p:cNvSpPr/>
          <p:nvPr userDrawn="1"/>
        </p:nvSpPr>
        <p:spPr>
          <a:xfrm>
            <a:off x="711025" y="6248472"/>
            <a:ext cx="1342220" cy="250898"/>
          </a:xfrm>
          <a:prstGeom prst="rect">
            <a:avLst/>
          </a:prstGeom>
          <a:blipFill>
            <a:blip r:embed="rId6" cstate="print"/>
            <a:stretch>
              <a:fillRect/>
            </a:stretch>
          </a:blipFill>
        </p:spPr>
        <p:txBody>
          <a:bodyPr wrap="square" lIns="0" tIns="0" rIns="0" bIns="0" rtlCol="0"/>
          <a:lstStyle/>
          <a:p>
            <a:endParaRPr sz="1600" dirty="0"/>
          </a:p>
        </p:txBody>
      </p:sp>
    </p:spTree>
    <p:extLst>
      <p:ext uri="{BB962C8B-B14F-4D97-AF65-F5344CB8AC3E}">
        <p14:creationId xmlns:p14="http://schemas.microsoft.com/office/powerpoint/2010/main" val="2759198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4">
          <p15:clr>
            <a:srgbClr val="FBAE40"/>
          </p15:clr>
        </p15:guide>
        <p15:guide id="2" pos="7224">
          <p15:clr>
            <a:srgbClr val="FBAE40"/>
          </p15:clr>
        </p15:guide>
        <p15:guide id="3" pos="3840">
          <p15:clr>
            <a:srgbClr val="FBAE40"/>
          </p15:clr>
        </p15:guide>
        <p15:guide id="4" orient="horz" pos="600">
          <p15:clr>
            <a:srgbClr val="FBAE40"/>
          </p15:clr>
        </p15:guide>
        <p15:guide id="5" pos="2712">
          <p15:clr>
            <a:srgbClr val="FBAE40"/>
          </p15:clr>
        </p15:guide>
        <p15:guide id="6" pos="496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06906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5" name="Title">
            <a:extLst>
              <a:ext uri="{FF2B5EF4-FFF2-40B4-BE49-F238E27FC236}">
                <a16:creationId xmlns:a16="http://schemas.microsoft.com/office/drawing/2014/main" id="{75F69691-E971-4999-939A-DA3FEED4E40F}"/>
              </a:ext>
            </a:extLst>
          </p:cNvPr>
          <p:cNvSpPr txBox="1">
            <a:spLocks/>
          </p:cNvSpPr>
          <p:nvPr userDrawn="1">
            <p:custDataLst>
              <p:tags r:id="rId3"/>
            </p:custDataLst>
          </p:nvPr>
        </p:nvSpPr>
        <p:spPr bwMode="auto">
          <a:xfrm>
            <a:off x="4548654" y="3059668"/>
            <a:ext cx="3145092" cy="738664"/>
          </a:xfrm>
          <a:prstGeom prst="rect">
            <a:avLst/>
          </a:prstGeom>
          <a:noFill/>
          <a:ln/>
          <a:extLst>
            <a:ext uri="{909E8E84-426E-40DD-AFC4-6F175D3DCCD1}">
              <a14:hiddenFill xmlns:a14="http://schemas.microsoft.com/office/drawing/2010/main">
                <a:solidFill>
                  <a:srgbClr val="FFFFFF"/>
                </a:solidFill>
              </a14:hiddenFill>
            </a:ext>
          </a:extLst>
        </p:spPr>
        <p:txBody>
          <a:bodyPr vert="horz" wrap="none" lIns="0" tIns="0" rIns="0" bIns="0" rtlCol="0" anchor="t" anchorCtr="0">
            <a:spAutoFit/>
          </a:bodyPr>
          <a:lstStyle>
            <a:lvl1pPr algn="l" defTabSz="914400" rtl="0" eaLnBrk="1" latinLnBrk="0" hangingPunct="1">
              <a:lnSpc>
                <a:spcPct val="100000"/>
              </a:lnSpc>
              <a:spcBef>
                <a:spcPct val="0"/>
              </a:spcBef>
              <a:buNone/>
              <a:defRPr lang="en-US" sz="2500" b="1" kern="1200" cap="none" spc="0" baseline="0" dirty="0">
                <a:ln w="6350" cap="flat">
                  <a:noFill/>
                  <a:miter lim="800000"/>
                </a:ln>
                <a:solidFill>
                  <a:schemeClr val="accent1"/>
                </a:solidFill>
                <a:latin typeface="+mj-lt"/>
                <a:ea typeface="+mj-ea"/>
                <a:cs typeface="+mj-cs"/>
              </a:defRPr>
            </a:lvl1pPr>
          </a:lstStyle>
          <a:p>
            <a:r>
              <a:rPr lang="en-US" sz="4800" dirty="0"/>
              <a:t>APPENDIX</a:t>
            </a:r>
          </a:p>
        </p:txBody>
      </p:sp>
    </p:spTree>
    <p:extLst>
      <p:ext uri="{BB962C8B-B14F-4D97-AF65-F5344CB8AC3E}">
        <p14:creationId xmlns:p14="http://schemas.microsoft.com/office/powerpoint/2010/main" val="21785234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Header &amp; Content ">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dirty="0">
              <a:solidFill>
                <a:srgbClr val="FFFFFF"/>
              </a:solidFill>
              <a:sym typeface="Arial" panose="020B0604020202020204" pitchFamily="34" charset="0"/>
            </a:endParaRPr>
          </a:p>
        </p:txBody>
      </p:sp>
      <p:sp>
        <p:nvSpPr>
          <p:cNvPr id="15" name="Marcador de texto 14">
            <a:extLst>
              <a:ext uri="{FF2B5EF4-FFF2-40B4-BE49-F238E27FC236}">
                <a16:creationId xmlns:a16="http://schemas.microsoft.com/office/drawing/2014/main" id="{05897091-A449-4E0A-B444-7171DF90239A}"/>
              </a:ext>
            </a:extLst>
          </p:cNvPr>
          <p:cNvSpPr>
            <a:spLocks noGrp="1"/>
          </p:cNvSpPr>
          <p:nvPr>
            <p:ph type="body" sz="quarter" idx="14"/>
          </p:nvPr>
        </p:nvSpPr>
        <p:spPr>
          <a:xfrm>
            <a:off x="711024" y="337099"/>
            <a:ext cx="10758734" cy="491239"/>
          </a:xfrm>
        </p:spPr>
        <p:txBody>
          <a:bodyPr>
            <a:noAutofit/>
          </a:bodyPr>
          <a:lstStyle>
            <a:lvl1pPr marL="0" indent="0">
              <a:buFontTx/>
              <a:buNone/>
              <a:defRPr sz="2800">
                <a:solidFill>
                  <a:schemeClr val="tx2"/>
                </a:solidFill>
                <a:latin typeface="+mj-lt"/>
              </a:defRPr>
            </a:lvl1pPr>
            <a:lvl2pPr marL="457200" indent="0">
              <a:buFontTx/>
              <a:buNone/>
              <a:defRPr sz="1100"/>
            </a:lvl2pPr>
            <a:lvl3pPr marL="914400" indent="0">
              <a:buFontTx/>
              <a:buNone/>
              <a:defRPr sz="1050"/>
            </a:lvl3pPr>
            <a:lvl4pPr marL="1371600" indent="0">
              <a:buFontTx/>
              <a:buNone/>
              <a:defRPr sz="1000"/>
            </a:lvl4pPr>
            <a:lvl5pPr marL="1828800" indent="0">
              <a:buFontTx/>
              <a:buNone/>
              <a:defRPr sz="1000"/>
            </a:lvl5pPr>
          </a:lstStyle>
          <a:p>
            <a:pPr lvl="0"/>
            <a:r>
              <a:rPr lang="en-US" dirty="0"/>
              <a:t>Edit Master text styles</a:t>
            </a:r>
          </a:p>
        </p:txBody>
      </p:sp>
      <p:sp>
        <p:nvSpPr>
          <p:cNvPr id="3" name="CuadroTexto 2">
            <a:extLst>
              <a:ext uri="{FF2B5EF4-FFF2-40B4-BE49-F238E27FC236}">
                <a16:creationId xmlns:a16="http://schemas.microsoft.com/office/drawing/2014/main" id="{408A7361-5E86-43BD-984F-C0489E52B69D}"/>
              </a:ext>
            </a:extLst>
          </p:cNvPr>
          <p:cNvSpPr txBox="1"/>
          <p:nvPr userDrawn="1"/>
        </p:nvSpPr>
        <p:spPr>
          <a:xfrm>
            <a:off x="9774724" y="6248471"/>
            <a:ext cx="1706251" cy="292388"/>
          </a:xfrm>
          <a:prstGeom prst="rect">
            <a:avLst/>
          </a:prstGeom>
          <a:noFill/>
        </p:spPr>
        <p:txBody>
          <a:bodyPr wrap="square" rtlCol="0" anchor="ctr" anchorCtr="0">
            <a:spAutoFit/>
          </a:bodyPr>
          <a:lstStyle/>
          <a:p>
            <a:pPr algn="r"/>
            <a:fld id="{DB0C6F71-F88D-45D5-A0AB-EA235CD66EB9}" type="slidenum">
              <a:rPr lang="en-US" sz="1300">
                <a:solidFill>
                  <a:srgbClr val="EC0000"/>
                </a:solidFill>
              </a:rPr>
              <a:pPr algn="r"/>
              <a:t>‹#›</a:t>
            </a:fld>
            <a:endParaRPr lang="en-US" sz="1300" dirty="0">
              <a:solidFill>
                <a:srgbClr val="EC0000"/>
              </a:solidFill>
            </a:endParaRPr>
          </a:p>
        </p:txBody>
      </p:sp>
      <p:sp>
        <p:nvSpPr>
          <p:cNvPr id="7" name="object 2">
            <a:extLst>
              <a:ext uri="{FF2B5EF4-FFF2-40B4-BE49-F238E27FC236}">
                <a16:creationId xmlns:a16="http://schemas.microsoft.com/office/drawing/2014/main" id="{CA88CF65-CCE0-4C3C-9761-2165A987B128}"/>
              </a:ext>
            </a:extLst>
          </p:cNvPr>
          <p:cNvSpPr/>
          <p:nvPr userDrawn="1"/>
        </p:nvSpPr>
        <p:spPr>
          <a:xfrm>
            <a:off x="711025" y="6248472"/>
            <a:ext cx="1342220" cy="250898"/>
          </a:xfrm>
          <a:prstGeom prst="rect">
            <a:avLst/>
          </a:prstGeom>
          <a:blipFill>
            <a:blip r:embed="rId6" cstate="print"/>
            <a:stretch>
              <a:fillRect/>
            </a:stretch>
          </a:blipFill>
        </p:spPr>
        <p:txBody>
          <a:bodyPr wrap="square" lIns="0" tIns="0" rIns="0" bIns="0" rtlCol="0"/>
          <a:lstStyle/>
          <a:p>
            <a:endParaRPr sz="1600" dirty="0"/>
          </a:p>
        </p:txBody>
      </p:sp>
    </p:spTree>
    <p:extLst>
      <p:ext uri="{BB962C8B-B14F-4D97-AF65-F5344CB8AC3E}">
        <p14:creationId xmlns:p14="http://schemas.microsoft.com/office/powerpoint/2010/main" val="260612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4">
          <p15:clr>
            <a:srgbClr val="FBAE40"/>
          </p15:clr>
        </p15:guide>
        <p15:guide id="2" pos="7224">
          <p15:clr>
            <a:srgbClr val="FBAE40"/>
          </p15:clr>
        </p15:guide>
        <p15:guide id="3" pos="3840">
          <p15:clr>
            <a:srgbClr val="FBAE40"/>
          </p15:clr>
        </p15:guide>
        <p15:guide id="4" orient="horz" pos="600">
          <p15:clr>
            <a:srgbClr val="FBAE40"/>
          </p15:clr>
        </p15:guide>
        <p15:guide id="5" pos="2712">
          <p15:clr>
            <a:srgbClr val="FBAE40"/>
          </p15:clr>
        </p15:guide>
        <p15:guide id="6" pos="496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ic body slide Main">
    <p:spTree>
      <p:nvGrpSpPr>
        <p:cNvPr id="1" name=""/>
        <p:cNvGrpSpPr/>
        <p:nvPr/>
      </p:nvGrpSpPr>
      <p:grpSpPr>
        <a:xfrm>
          <a:off x="0" y="0"/>
          <a:ext cx="0" cy="0"/>
          <a:chOff x="0" y="0"/>
          <a:chExt cx="0" cy="0"/>
        </a:xfrm>
      </p:grpSpPr>
    </p:spTree>
    <p:extLst>
      <p:ext uri="{BB962C8B-B14F-4D97-AF65-F5344CB8AC3E}">
        <p14:creationId xmlns:p14="http://schemas.microsoft.com/office/powerpoint/2010/main" val="4526531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 main">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442384" y="2802939"/>
            <a:ext cx="2274656" cy="0"/>
          </a:xfrm>
          <a:prstGeom prst="line">
            <a:avLst/>
          </a:prstGeom>
          <a:noFill/>
          <a:ln w="57150" cmpd="sng">
            <a:solidFill>
              <a:schemeClr val="bg1">
                <a:lumMod val="50000"/>
              </a:schemeClr>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eaLnBrk="0" fontAlgn="auto" hangingPunct="0">
              <a:spcBef>
                <a:spcPts val="0"/>
              </a:spcBef>
              <a:spcAft>
                <a:spcPts val="0"/>
              </a:spcAft>
              <a:defRPr/>
            </a:pPr>
            <a:endParaRPr lang="es-ES" sz="2400" dirty="0">
              <a:ln w="9525" cmpd="sng">
                <a:solidFill>
                  <a:prstClr val="black"/>
                </a:solidFill>
              </a:ln>
              <a:solidFill>
                <a:srgbClr val="DB0B11"/>
              </a:solidFill>
              <a:effectLst>
                <a:outerShdw blurRad="38100" dist="38100" dir="2700000" algn="tl">
                  <a:srgbClr val="000000">
                    <a:alpha val="43137"/>
                  </a:srgbClr>
                </a:outerShdw>
              </a:effectLst>
              <a:latin typeface="Calibri" panose="020F0502020204030204" pitchFamily="34" charset="0"/>
              <a:ea typeface="MS PGothic" pitchFamily="34" charset="-128"/>
            </a:endParaRPr>
          </a:p>
        </p:txBody>
      </p:sp>
    </p:spTree>
    <p:extLst>
      <p:ext uri="{BB962C8B-B14F-4D97-AF65-F5344CB8AC3E}">
        <p14:creationId xmlns:p14="http://schemas.microsoft.com/office/powerpoint/2010/main" val="4161645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extLst>
              <p:ext uri="{D42A27DB-BD31-4B8C-83A1-F6EECF244321}">
                <p14:modId xmlns:p14="http://schemas.microsoft.com/office/powerpoint/2010/main" val="651838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16" imgH="216" progId="TCLayout.ActiveDocument.1">
                  <p:embed/>
                </p:oleObj>
              </mc:Choice>
              <mc:Fallback>
                <p:oleObj name="think-cell Slide" r:id="rId10" imgW="216" imgH="216" progId="TCLayout.ActiveDocument.1">
                  <p:embed/>
                  <p:pic>
                    <p:nvPicPr>
                      <p:cNvPr id="8" name="Object 7"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0000"/>
              </a:lnSpc>
              <a:spcBef>
                <a:spcPct val="0"/>
              </a:spcBef>
              <a:spcAft>
                <a:spcPct val="0"/>
              </a:spcAft>
            </a:pPr>
            <a:endParaRPr lang="en-US" sz="2800" b="0"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Marcador de título 1">
            <a:extLst>
              <a:ext uri="{FF2B5EF4-FFF2-40B4-BE49-F238E27FC236}">
                <a16:creationId xmlns:a16="http://schemas.microsoft.com/office/drawing/2014/main" id="{A508141E-100E-4635-9FC3-353399DFCC84}"/>
              </a:ext>
            </a:extLst>
          </p:cNvPr>
          <p:cNvSpPr>
            <a:spLocks noGrp="1"/>
          </p:cNvSpPr>
          <p:nvPr>
            <p:ph type="title"/>
          </p:nvPr>
        </p:nvSpPr>
        <p:spPr>
          <a:xfrm>
            <a:off x="838200" y="365125"/>
            <a:ext cx="10515600" cy="914400"/>
          </a:xfrm>
          <a:prstGeom prst="rect">
            <a:avLst/>
          </a:prstGeom>
        </p:spPr>
        <p:txBody>
          <a:bodyPr vert="horz" lIns="91440" tIns="45720" rIns="91440" bIns="45720" rtlCol="0" anchor="t">
            <a:noAutofit/>
          </a:bodyPr>
          <a:lstStyle/>
          <a:p>
            <a:r>
              <a:rPr lang="en-US" dirty="0"/>
              <a:t>Click to edit Master title style</a:t>
            </a:r>
          </a:p>
        </p:txBody>
      </p:sp>
      <p:sp>
        <p:nvSpPr>
          <p:cNvPr id="3" name="Marcador de texto 2">
            <a:extLst>
              <a:ext uri="{FF2B5EF4-FFF2-40B4-BE49-F238E27FC236}">
                <a16:creationId xmlns:a16="http://schemas.microsoft.com/office/drawing/2014/main" id="{70BD3726-4CCC-4808-AF74-D4FC34B77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Marcador de pie de página 4">
            <a:extLst>
              <a:ext uri="{FF2B5EF4-FFF2-40B4-BE49-F238E27FC236}">
                <a16:creationId xmlns:a16="http://schemas.microsoft.com/office/drawing/2014/main" id="{0C937220-A8C8-4E71-8BA2-4260C5636D0D}"/>
              </a:ext>
            </a:extLst>
          </p:cNvPr>
          <p:cNvSpPr>
            <a:spLocks noGrp="1"/>
          </p:cNvSpPr>
          <p:nvPr>
            <p:ph type="ftr" sz="quarter" idx="3"/>
          </p:nvPr>
        </p:nvSpPr>
        <p:spPr>
          <a:xfrm>
            <a:off x="4038600" y="6302411"/>
            <a:ext cx="4114800" cy="365125"/>
          </a:xfrm>
          <a:prstGeom prst="rect">
            <a:avLst/>
          </a:prstGeom>
        </p:spPr>
        <p:txBody>
          <a:bodyPr vert="horz" lIns="91440" tIns="45720" rIns="91440" bIns="45720" rtlCol="0" anchor="ctr"/>
          <a:lstStyle>
            <a:lvl1pPr algn="ctr" eaLnBrk="1">
              <a:defRPr sz="900">
                <a:solidFill>
                  <a:schemeClr val="tx1">
                    <a:tint val="75000"/>
                  </a:schemeClr>
                </a:solidFill>
              </a:defRPr>
            </a:lvl1pPr>
          </a:lstStyle>
          <a:p>
            <a:r>
              <a:rPr lang="en-US" dirty="0">
                <a:solidFill>
                  <a:prstClr val="black">
                    <a:tint val="75000"/>
                  </a:prstClr>
                </a:solidFill>
              </a:rPr>
              <a:t>Restricted Confidential</a:t>
            </a:r>
          </a:p>
        </p:txBody>
      </p:sp>
      <p:sp>
        <p:nvSpPr>
          <p:cNvPr id="4" name="Slide Number Placeholder 3"/>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5A00C5-15C9-407D-A2E7-0084E801D7DD}" type="slidenum">
              <a:rPr lang="en-US" smtClean="0"/>
              <a:t>‹#›</a:t>
            </a:fld>
            <a:endParaRPr lang="en-US" dirty="0"/>
          </a:p>
        </p:txBody>
      </p:sp>
      <p:sp>
        <p:nvSpPr>
          <p:cNvPr id="6" name="MSIPCMContentMarking" descr="{&quot;HashCode&quot;:-665463564,&quot;Placement&quot;:&quot;Header&quot;,&quot;Top&quot;:0.0,&quot;Left&quot;:0.0,&quot;SlideWidth&quot;:960,&quot;SlideHeight&quot;:540}">
            <a:extLst>
              <a:ext uri="{FF2B5EF4-FFF2-40B4-BE49-F238E27FC236}">
                <a16:creationId xmlns:a16="http://schemas.microsoft.com/office/drawing/2014/main" id="{D41972DF-2319-422F-91A8-5FDA2E2ED07F}"/>
              </a:ext>
            </a:extLst>
          </p:cNvPr>
          <p:cNvSpPr txBox="1"/>
          <p:nvPr userDrawn="1"/>
        </p:nvSpPr>
        <p:spPr>
          <a:xfrm>
            <a:off x="0" y="0"/>
            <a:ext cx="90718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onfidenti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07860554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705" r:id="rId6"/>
  </p:sldLayoutIdLst>
  <p:hf hdr="0" dt="0"/>
  <p:txStyles>
    <p:titleStyle>
      <a:lvl1pPr algn="l" defTabSz="914400" rtl="0" eaLnBrk="1" latinLnBrk="0" hangingPunct="1">
        <a:lnSpc>
          <a:spcPct val="90000"/>
        </a:lnSpc>
        <a:spcBef>
          <a:spcPct val="0"/>
        </a:spcBef>
        <a:buNone/>
        <a:defRPr sz="2800" kern="1200">
          <a:solidFill>
            <a:schemeClr val="tx2"/>
          </a:solidFill>
          <a:latin typeface="+mj-lt"/>
          <a:ea typeface="+mj-ea"/>
          <a:cs typeface="+mj-cs"/>
        </a:defRPr>
      </a:lvl1pPr>
    </p:titleStyle>
    <p:body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6E7C38-5EB4-43C9-8067-D19329AB6606}"/>
              </a:ext>
            </a:extLst>
          </p:cNvPr>
          <p:cNvGraphicFramePr>
            <a:graphicFrameLocks noChangeAspect="1"/>
          </p:cNvGraphicFramePr>
          <p:nvPr userDrawn="1">
            <p:custDataLst>
              <p:tags r:id="rId4"/>
            </p:custDataLst>
            <p:extLst>
              <p:ext uri="{D42A27DB-BD31-4B8C-83A1-F6EECF244321}">
                <p14:modId xmlns:p14="http://schemas.microsoft.com/office/powerpoint/2010/main" val="1341819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2" name="Object 1" hidden="1">
                        <a:extLst>
                          <a:ext uri="{FF2B5EF4-FFF2-40B4-BE49-F238E27FC236}">
                            <a16:creationId xmlns:a16="http://schemas.microsoft.com/office/drawing/2014/main" id="{146E7C38-5EB4-43C9-8067-D19329AB66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6" name="Straight Connector 5"/>
          <p:cNvCxnSpPr/>
          <p:nvPr userDrawn="1"/>
        </p:nvCxnSpPr>
        <p:spPr>
          <a:xfrm>
            <a:off x="381000" y="714385"/>
            <a:ext cx="114300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5222308" y="6534835"/>
            <a:ext cx="1635692" cy="323165"/>
          </a:xfrm>
          <a:prstGeom prst="rect">
            <a:avLst/>
          </a:prstGeom>
        </p:spPr>
        <p:txBody>
          <a:bodyPr wrap="square">
            <a:spAutoFit/>
          </a:bodyPr>
          <a:lstStyle/>
          <a:p>
            <a:r>
              <a:rPr lang="en-US" sz="1500" b="1" baseline="30000" dirty="0">
                <a:solidFill>
                  <a:prstClr val="black"/>
                </a:solidFill>
              </a:rPr>
              <a:t>Proprietary &amp; Confidential</a:t>
            </a:r>
            <a:endParaRPr lang="en-US" sz="1500" b="1" dirty="0">
              <a:solidFill>
                <a:prstClr val="black"/>
              </a:solidFill>
            </a:endParaRPr>
          </a:p>
        </p:txBody>
      </p:sp>
      <p:sp>
        <p:nvSpPr>
          <p:cNvPr id="3" name="MSIPCMContentMarking" descr="{&quot;HashCode&quot;:-665463564,&quot;Placement&quot;:&quot;Header&quot;,&quot;Top&quot;:0.0,&quot;Left&quot;:0.0,&quot;SlideWidth&quot;:960,&quot;SlideHeight&quot;:540}">
            <a:extLst>
              <a:ext uri="{FF2B5EF4-FFF2-40B4-BE49-F238E27FC236}">
                <a16:creationId xmlns:a16="http://schemas.microsoft.com/office/drawing/2014/main" id="{6CE1D2D2-9D25-4C21-AD24-4873803DED9A}"/>
              </a:ext>
            </a:extLst>
          </p:cNvPr>
          <p:cNvSpPr txBox="1"/>
          <p:nvPr userDrawn="1"/>
        </p:nvSpPr>
        <p:spPr>
          <a:xfrm>
            <a:off x="0" y="0"/>
            <a:ext cx="90718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000000"/>
                </a:solidFill>
                <a:latin typeface="Calibri" panose="020F0502020204030204" pitchFamily="34" charset="0"/>
              </a:rPr>
              <a:t>Confidenti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770647444"/>
      </p:ext>
    </p:extLst>
  </p:cSld>
  <p:clrMap bg1="lt1" tx1="dk1" bg2="lt2" tx2="dk2" accent1="accent1" accent2="accent2" accent3="accent3" accent4="accent4" accent5="accent5" accent6="accent6" hlink="hlink" folHlink="folHlink"/>
  <p:sldLayoutIdLst>
    <p:sldLayoutId id="2147483703" r:id="rId1"/>
    <p:sldLayoutId id="2147483704" r:id="rId2"/>
  </p:sldLayoutIdLst>
  <p:hf hdr="0" ftr="0" dt="0"/>
  <p:txStyles>
    <p:titleStyle>
      <a:lvl1pPr algn="l" rtl="0" eaLnBrk="1" fontAlgn="base" hangingPunct="1">
        <a:spcBef>
          <a:spcPct val="0"/>
        </a:spcBef>
        <a:spcAft>
          <a:spcPct val="0"/>
        </a:spcAft>
        <a:defRPr sz="1799" b="1" i="1">
          <a:solidFill>
            <a:schemeClr val="tx1">
              <a:lumMod val="65000"/>
              <a:lumOff val="35000"/>
            </a:schemeClr>
          </a:solidFill>
          <a:latin typeface="+mj-lt"/>
          <a:ea typeface="MS PGothic" pitchFamily="34" charset="-128"/>
          <a:cs typeface="+mj-cs"/>
        </a:defRPr>
      </a:lvl1pPr>
      <a:lvl2pPr algn="l" rtl="0" eaLnBrk="1" fontAlgn="base" hangingPunct="1">
        <a:spcBef>
          <a:spcPct val="0"/>
        </a:spcBef>
        <a:spcAft>
          <a:spcPct val="0"/>
        </a:spcAft>
        <a:defRPr sz="1349">
          <a:solidFill>
            <a:schemeClr val="tx1"/>
          </a:solidFill>
          <a:latin typeface="Arial Bold" pitchFamily="-112" charset="0"/>
          <a:ea typeface="MS PGothic" pitchFamily="34" charset="-128"/>
          <a:cs typeface="ＭＳ Ｐゴシック" pitchFamily="-112" charset="-128"/>
        </a:defRPr>
      </a:lvl2pPr>
      <a:lvl3pPr algn="l" rtl="0" eaLnBrk="1" fontAlgn="base" hangingPunct="1">
        <a:spcBef>
          <a:spcPct val="0"/>
        </a:spcBef>
        <a:spcAft>
          <a:spcPct val="0"/>
        </a:spcAft>
        <a:defRPr sz="1349">
          <a:solidFill>
            <a:schemeClr val="tx1"/>
          </a:solidFill>
          <a:latin typeface="Arial Bold" pitchFamily="-112" charset="0"/>
          <a:ea typeface="MS PGothic" pitchFamily="34" charset="-128"/>
          <a:cs typeface="ＭＳ Ｐゴシック" pitchFamily="-112" charset="-128"/>
        </a:defRPr>
      </a:lvl3pPr>
      <a:lvl4pPr algn="l" rtl="0" eaLnBrk="1" fontAlgn="base" hangingPunct="1">
        <a:spcBef>
          <a:spcPct val="0"/>
        </a:spcBef>
        <a:spcAft>
          <a:spcPct val="0"/>
        </a:spcAft>
        <a:defRPr sz="1349">
          <a:solidFill>
            <a:schemeClr val="tx1"/>
          </a:solidFill>
          <a:latin typeface="Arial Bold" pitchFamily="-112" charset="0"/>
          <a:ea typeface="MS PGothic" pitchFamily="34" charset="-128"/>
          <a:cs typeface="ＭＳ Ｐゴシック" pitchFamily="-112" charset="-128"/>
        </a:defRPr>
      </a:lvl4pPr>
      <a:lvl5pPr algn="l" rtl="0" eaLnBrk="1" fontAlgn="base" hangingPunct="1">
        <a:spcBef>
          <a:spcPct val="0"/>
        </a:spcBef>
        <a:spcAft>
          <a:spcPct val="0"/>
        </a:spcAft>
        <a:defRPr sz="1349">
          <a:solidFill>
            <a:schemeClr val="tx1"/>
          </a:solidFill>
          <a:latin typeface="Arial Bold" pitchFamily="-112" charset="0"/>
          <a:ea typeface="MS PGothic" pitchFamily="34" charset="-128"/>
          <a:cs typeface="ＭＳ Ｐゴシック" pitchFamily="-112" charset="-128"/>
        </a:defRPr>
      </a:lvl5pPr>
      <a:lvl6pPr marL="256918" algn="l" rtl="0" eaLnBrk="1" fontAlgn="base" hangingPunct="1">
        <a:spcBef>
          <a:spcPct val="0"/>
        </a:spcBef>
        <a:spcAft>
          <a:spcPct val="0"/>
        </a:spcAft>
        <a:defRPr sz="1349">
          <a:solidFill>
            <a:schemeClr val="tx1"/>
          </a:solidFill>
          <a:latin typeface="Arial Bold" pitchFamily="-112" charset="0"/>
          <a:ea typeface="ＭＳ Ｐゴシック" pitchFamily="-112" charset="-128"/>
          <a:cs typeface="ＭＳ Ｐゴシック" pitchFamily="-112" charset="-128"/>
        </a:defRPr>
      </a:lvl6pPr>
      <a:lvl7pPr marL="513836" algn="l" rtl="0" eaLnBrk="1" fontAlgn="base" hangingPunct="1">
        <a:spcBef>
          <a:spcPct val="0"/>
        </a:spcBef>
        <a:spcAft>
          <a:spcPct val="0"/>
        </a:spcAft>
        <a:defRPr sz="1349">
          <a:solidFill>
            <a:schemeClr val="tx1"/>
          </a:solidFill>
          <a:latin typeface="Arial Bold" pitchFamily="-112" charset="0"/>
          <a:ea typeface="ＭＳ Ｐゴシック" pitchFamily="-112" charset="-128"/>
          <a:cs typeface="ＭＳ Ｐゴシック" pitchFamily="-112" charset="-128"/>
        </a:defRPr>
      </a:lvl7pPr>
      <a:lvl8pPr marL="770753" algn="l" rtl="0" eaLnBrk="1" fontAlgn="base" hangingPunct="1">
        <a:spcBef>
          <a:spcPct val="0"/>
        </a:spcBef>
        <a:spcAft>
          <a:spcPct val="0"/>
        </a:spcAft>
        <a:defRPr sz="1349">
          <a:solidFill>
            <a:schemeClr val="tx1"/>
          </a:solidFill>
          <a:latin typeface="Arial Bold" pitchFamily="-112" charset="0"/>
          <a:ea typeface="ＭＳ Ｐゴシック" pitchFamily="-112" charset="-128"/>
          <a:cs typeface="ＭＳ Ｐゴシック" pitchFamily="-112" charset="-128"/>
        </a:defRPr>
      </a:lvl8pPr>
      <a:lvl9pPr marL="1027671" algn="l" rtl="0" eaLnBrk="1" fontAlgn="base" hangingPunct="1">
        <a:spcBef>
          <a:spcPct val="0"/>
        </a:spcBef>
        <a:spcAft>
          <a:spcPct val="0"/>
        </a:spcAft>
        <a:defRPr sz="1349">
          <a:solidFill>
            <a:schemeClr val="tx1"/>
          </a:solidFill>
          <a:latin typeface="Arial Bold" pitchFamily="-112" charset="0"/>
          <a:ea typeface="ＭＳ Ｐゴシック" pitchFamily="-112" charset="-128"/>
          <a:cs typeface="ＭＳ Ｐゴシック" pitchFamily="-112" charset="-128"/>
        </a:defRPr>
      </a:lvl9pPr>
    </p:titleStyle>
    <p:bodyStyle>
      <a:lvl1pPr marL="86532" indent="-86532" algn="l" rtl="0" eaLnBrk="1" fontAlgn="base" hangingPunct="1">
        <a:spcBef>
          <a:spcPct val="20000"/>
        </a:spcBef>
        <a:spcAft>
          <a:spcPct val="0"/>
        </a:spcAft>
        <a:defRPr sz="1349" b="0">
          <a:solidFill>
            <a:srgbClr val="FF0000"/>
          </a:solidFill>
          <a:latin typeface="+mn-lt"/>
          <a:ea typeface="MS PGothic" pitchFamily="34" charset="-128"/>
          <a:cs typeface="+mn-cs"/>
        </a:defRPr>
      </a:lvl1pPr>
      <a:lvl2pPr marL="346126" indent="-177226" algn="l" rtl="0" eaLnBrk="1" fontAlgn="base" hangingPunct="1">
        <a:lnSpc>
          <a:spcPct val="120000"/>
        </a:lnSpc>
        <a:spcBef>
          <a:spcPct val="20000"/>
        </a:spcBef>
        <a:spcAft>
          <a:spcPct val="0"/>
        </a:spcAft>
        <a:buClr>
          <a:schemeClr val="tx1"/>
        </a:buClr>
        <a:buFont typeface="Wingdings" pitchFamily="2" charset="2"/>
        <a:buChar char="§"/>
        <a:defRPr sz="1124">
          <a:solidFill>
            <a:schemeClr val="tx1">
              <a:lumMod val="75000"/>
              <a:lumOff val="25000"/>
            </a:schemeClr>
          </a:solidFill>
          <a:latin typeface="Calibri" panose="020F0502020204030204" pitchFamily="34" charset="0"/>
          <a:ea typeface="MS PGothic" pitchFamily="34" charset="-128"/>
          <a:cs typeface="+mn-cs"/>
        </a:defRPr>
      </a:lvl2pPr>
      <a:lvl3pPr marL="523649" indent="-128459" algn="l" rtl="0" eaLnBrk="1" fontAlgn="base" hangingPunct="1">
        <a:lnSpc>
          <a:spcPct val="100000"/>
        </a:lnSpc>
        <a:spcBef>
          <a:spcPct val="20000"/>
        </a:spcBef>
        <a:spcAft>
          <a:spcPct val="0"/>
        </a:spcAft>
        <a:buClr>
          <a:schemeClr val="tx1"/>
        </a:buClr>
        <a:buChar char="•"/>
        <a:defRPr sz="1124">
          <a:solidFill>
            <a:srgbClr val="999999"/>
          </a:solidFill>
          <a:latin typeface="Calibri" panose="020F0502020204030204" pitchFamily="34" charset="0"/>
          <a:ea typeface="MS PGothic" pitchFamily="34" charset="-128"/>
          <a:cs typeface="+mn-cs"/>
        </a:defRPr>
      </a:lvl3pPr>
      <a:lvl4pPr marL="759157" indent="-128459" algn="l" rtl="0" eaLnBrk="1" fontAlgn="base" hangingPunct="1">
        <a:spcBef>
          <a:spcPct val="20000"/>
        </a:spcBef>
        <a:spcAft>
          <a:spcPct val="0"/>
        </a:spcAft>
        <a:buClr>
          <a:schemeClr val="tx1"/>
        </a:buClr>
        <a:buChar char="–"/>
        <a:defRPr sz="1012">
          <a:solidFill>
            <a:srgbClr val="999999"/>
          </a:solidFill>
          <a:latin typeface="Calibri" panose="020F0502020204030204" pitchFamily="34" charset="0"/>
          <a:ea typeface="MS PGothic" pitchFamily="34" charset="-128"/>
          <a:cs typeface="+mn-cs"/>
        </a:defRPr>
      </a:lvl4pPr>
      <a:lvl5pPr marL="994665" indent="-128459" algn="l" rtl="0" eaLnBrk="1" fontAlgn="base" hangingPunct="1">
        <a:spcBef>
          <a:spcPct val="20000"/>
        </a:spcBef>
        <a:spcAft>
          <a:spcPct val="0"/>
        </a:spcAft>
        <a:buClr>
          <a:schemeClr val="tx1"/>
        </a:buClr>
        <a:defRPr sz="899">
          <a:solidFill>
            <a:schemeClr val="tx1"/>
          </a:solidFill>
          <a:latin typeface="Calibri" panose="020F0502020204030204" pitchFamily="34" charset="0"/>
          <a:ea typeface="MS PGothic" pitchFamily="34" charset="-128"/>
          <a:cs typeface="+mn-cs"/>
        </a:defRPr>
      </a:lvl5pPr>
      <a:lvl6pPr marL="1251583" indent="-128459" algn="l" rtl="0" eaLnBrk="1" fontAlgn="base" hangingPunct="1">
        <a:spcBef>
          <a:spcPct val="20000"/>
        </a:spcBef>
        <a:spcAft>
          <a:spcPct val="0"/>
        </a:spcAft>
        <a:defRPr sz="1124">
          <a:solidFill>
            <a:schemeClr val="tx1"/>
          </a:solidFill>
          <a:latin typeface="Arial" charset="0"/>
          <a:ea typeface="+mn-ea"/>
          <a:cs typeface="+mn-cs"/>
        </a:defRPr>
      </a:lvl6pPr>
      <a:lvl7pPr marL="1508501" indent="-128459" algn="l" rtl="0" eaLnBrk="1" fontAlgn="base" hangingPunct="1">
        <a:spcBef>
          <a:spcPct val="20000"/>
        </a:spcBef>
        <a:spcAft>
          <a:spcPct val="0"/>
        </a:spcAft>
        <a:defRPr sz="1124">
          <a:solidFill>
            <a:schemeClr val="tx1"/>
          </a:solidFill>
          <a:latin typeface="Arial" charset="0"/>
          <a:ea typeface="+mn-ea"/>
          <a:cs typeface="+mn-cs"/>
        </a:defRPr>
      </a:lvl7pPr>
      <a:lvl8pPr marL="1765418" indent="-128459" algn="l" rtl="0" eaLnBrk="1" fontAlgn="base" hangingPunct="1">
        <a:spcBef>
          <a:spcPct val="20000"/>
        </a:spcBef>
        <a:spcAft>
          <a:spcPct val="0"/>
        </a:spcAft>
        <a:defRPr sz="1124">
          <a:solidFill>
            <a:schemeClr val="tx1"/>
          </a:solidFill>
          <a:latin typeface="Arial" charset="0"/>
          <a:ea typeface="+mn-ea"/>
          <a:cs typeface="+mn-cs"/>
        </a:defRPr>
      </a:lvl8pPr>
      <a:lvl9pPr marL="2022336" indent="-128459" algn="l" rtl="0" eaLnBrk="1" fontAlgn="base" hangingPunct="1">
        <a:spcBef>
          <a:spcPct val="20000"/>
        </a:spcBef>
        <a:spcAft>
          <a:spcPct val="0"/>
        </a:spcAft>
        <a:defRPr sz="1124">
          <a:solidFill>
            <a:schemeClr val="tx1"/>
          </a:solidFill>
          <a:latin typeface="Arial" charset="0"/>
          <a:ea typeface="+mn-ea"/>
          <a:cs typeface="+mn-cs"/>
        </a:defRPr>
      </a:lvl9pPr>
    </p:bodyStyle>
    <p:otherStyle>
      <a:defPPr>
        <a:defRPr lang="en-US"/>
      </a:defPPr>
      <a:lvl1pPr marL="0" algn="l" defTabSz="256918" rtl="0" eaLnBrk="1" latinLnBrk="0" hangingPunct="1">
        <a:defRPr sz="1012" kern="1200">
          <a:solidFill>
            <a:schemeClr val="tx1"/>
          </a:solidFill>
          <a:latin typeface="+mn-lt"/>
          <a:ea typeface="+mn-ea"/>
          <a:cs typeface="+mn-cs"/>
        </a:defRPr>
      </a:lvl1pPr>
      <a:lvl2pPr marL="256918" algn="l" defTabSz="256918" rtl="0" eaLnBrk="1" latinLnBrk="0" hangingPunct="1">
        <a:defRPr sz="1012" kern="1200">
          <a:solidFill>
            <a:schemeClr val="tx1"/>
          </a:solidFill>
          <a:latin typeface="+mn-lt"/>
          <a:ea typeface="+mn-ea"/>
          <a:cs typeface="+mn-cs"/>
        </a:defRPr>
      </a:lvl2pPr>
      <a:lvl3pPr marL="513836" algn="l" defTabSz="256918" rtl="0" eaLnBrk="1" latinLnBrk="0" hangingPunct="1">
        <a:defRPr sz="1012" kern="1200">
          <a:solidFill>
            <a:schemeClr val="tx1"/>
          </a:solidFill>
          <a:latin typeface="+mn-lt"/>
          <a:ea typeface="+mn-ea"/>
          <a:cs typeface="+mn-cs"/>
        </a:defRPr>
      </a:lvl3pPr>
      <a:lvl4pPr marL="770753" algn="l" defTabSz="256918" rtl="0" eaLnBrk="1" latinLnBrk="0" hangingPunct="1">
        <a:defRPr sz="1012" kern="1200">
          <a:solidFill>
            <a:schemeClr val="tx1"/>
          </a:solidFill>
          <a:latin typeface="+mn-lt"/>
          <a:ea typeface="+mn-ea"/>
          <a:cs typeface="+mn-cs"/>
        </a:defRPr>
      </a:lvl4pPr>
      <a:lvl5pPr marL="1027671" algn="l" defTabSz="256918" rtl="0" eaLnBrk="1" latinLnBrk="0" hangingPunct="1">
        <a:defRPr sz="1012" kern="1200">
          <a:solidFill>
            <a:schemeClr val="tx1"/>
          </a:solidFill>
          <a:latin typeface="+mn-lt"/>
          <a:ea typeface="+mn-ea"/>
          <a:cs typeface="+mn-cs"/>
        </a:defRPr>
      </a:lvl5pPr>
      <a:lvl6pPr marL="1284590" algn="l" defTabSz="256918" rtl="0" eaLnBrk="1" latinLnBrk="0" hangingPunct="1">
        <a:defRPr sz="1012" kern="1200">
          <a:solidFill>
            <a:schemeClr val="tx1"/>
          </a:solidFill>
          <a:latin typeface="+mn-lt"/>
          <a:ea typeface="+mn-ea"/>
          <a:cs typeface="+mn-cs"/>
        </a:defRPr>
      </a:lvl6pPr>
      <a:lvl7pPr marL="1541507" algn="l" defTabSz="256918" rtl="0" eaLnBrk="1" latinLnBrk="0" hangingPunct="1">
        <a:defRPr sz="1012" kern="1200">
          <a:solidFill>
            <a:schemeClr val="tx1"/>
          </a:solidFill>
          <a:latin typeface="+mn-lt"/>
          <a:ea typeface="+mn-ea"/>
          <a:cs typeface="+mn-cs"/>
        </a:defRPr>
      </a:lvl7pPr>
      <a:lvl8pPr marL="1798425" algn="l" defTabSz="256918" rtl="0" eaLnBrk="1" latinLnBrk="0" hangingPunct="1">
        <a:defRPr sz="1012" kern="1200">
          <a:solidFill>
            <a:schemeClr val="tx1"/>
          </a:solidFill>
          <a:latin typeface="+mn-lt"/>
          <a:ea typeface="+mn-ea"/>
          <a:cs typeface="+mn-cs"/>
        </a:defRPr>
      </a:lvl8pPr>
      <a:lvl9pPr marL="2055343" algn="l" defTabSz="256918" rtl="0" eaLnBrk="1" latinLnBrk="0" hangingPunct="1">
        <a:defRPr sz="101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9.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1.jpg"/><Relationship Id="rId5" Type="http://schemas.openxmlformats.org/officeDocument/2006/relationships/image" Target="../media/image10.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2.jpg"/><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5.xml"/><Relationship Id="rId7" Type="http://schemas.openxmlformats.org/officeDocument/2006/relationships/image" Target="../media/image13.png"/><Relationship Id="rId2" Type="http://schemas.openxmlformats.org/officeDocument/2006/relationships/slideLayout" Target="../slideLayouts/slideLayout6.xml"/><Relationship Id="rId1" Type="http://schemas.openxmlformats.org/officeDocument/2006/relationships/tags" Target="../tags/tag20.xml"/><Relationship Id="rId6" Type="http://schemas.openxmlformats.org/officeDocument/2006/relationships/image" Target="../media/image9.png"/><Relationship Id="rId5" Type="http://schemas.openxmlformats.org/officeDocument/2006/relationships/image" Target="../media/image10.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1781662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7" name="Object 1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kumimoji="0" lang="en-US" sz="4400" u="none" strike="noStrike" kern="1200" cap="none" spc="0" normalizeH="0" noProof="0" dirty="0">
              <a:ln>
                <a:noFill/>
              </a:ln>
              <a:solidFill>
                <a:srgbClr val="FFFFFF"/>
              </a:solidFill>
              <a:effectLst/>
              <a:uLnTx/>
              <a:uFillTx/>
              <a:latin typeface="Santander Headline" panose="020B0504020201020104" pitchFamily="34" charset="0"/>
              <a:ea typeface="+mj-ea"/>
              <a:cs typeface="+mj-cs"/>
              <a:sym typeface="Santander Headline" panose="020B0504020201020104" pitchFamily="34" charset="0"/>
            </a:endParaRPr>
          </a:p>
        </p:txBody>
      </p:sp>
      <p:sp>
        <p:nvSpPr>
          <p:cNvPr id="12" name="Title 11"/>
          <p:cNvSpPr>
            <a:spLocks noGrp="1"/>
          </p:cNvSpPr>
          <p:nvPr>
            <p:ph type="ctrTitle"/>
          </p:nvPr>
        </p:nvSpPr>
        <p:spPr>
          <a:xfrm>
            <a:off x="721744" y="1602498"/>
            <a:ext cx="9861311" cy="2436453"/>
          </a:xfrm>
        </p:spPr>
        <p:txBody>
          <a:bodyP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kern="1200" dirty="0">
                <a:solidFill>
                  <a:schemeClr val="accent1"/>
                </a:solidFill>
                <a:effectLst/>
                <a:latin typeface="Santander Headline" panose="020B0504020201020104" pitchFamily="34" charset="0"/>
              </a:rPr>
              <a:t>The New England States Government Finance Officers Association</a:t>
            </a:r>
            <a:br>
              <a:rPr lang="en-US" sz="4400" kern="1200" dirty="0">
                <a:solidFill>
                  <a:schemeClr val="accent1"/>
                </a:solidFill>
                <a:effectLst/>
                <a:latin typeface="Santander Headline" panose="020B0504020201020104" pitchFamily="34" charset="0"/>
              </a:rPr>
            </a:br>
            <a:br>
              <a:rPr lang="en-US" sz="4400" kern="1200" dirty="0">
                <a:solidFill>
                  <a:schemeClr val="accent1"/>
                </a:solidFill>
                <a:effectLst/>
                <a:latin typeface="Santander Headline" panose="020B0504020201020104" pitchFamily="34" charset="0"/>
              </a:rPr>
            </a:br>
            <a:r>
              <a:rPr lang="en-US" sz="3200" dirty="0">
                <a:solidFill>
                  <a:schemeClr val="tx2"/>
                </a:solidFill>
                <a:latin typeface="Santander Headline" panose="020B0504020201020104" pitchFamily="34" charset="0"/>
                <a:ea typeface="+mn-ea"/>
                <a:cs typeface="+mn-cs"/>
              </a:rPr>
              <a:t>Industry Fraud Discussion</a:t>
            </a:r>
            <a:endParaRPr lang="en-US" sz="3100" dirty="0">
              <a:solidFill>
                <a:schemeClr val="tx2"/>
              </a:solidFill>
              <a:latin typeface="Santander Headline" panose="020B0504020201020104" pitchFamily="34" charset="0"/>
              <a:ea typeface="+mn-ea"/>
              <a:cs typeface="+mn-cs"/>
            </a:endParaRPr>
          </a:p>
        </p:txBody>
      </p:sp>
      <p:sp>
        <p:nvSpPr>
          <p:cNvPr id="3" name="Subtítulo 2">
            <a:extLst>
              <a:ext uri="{FF2B5EF4-FFF2-40B4-BE49-F238E27FC236}">
                <a16:creationId xmlns:a16="http://schemas.microsoft.com/office/drawing/2014/main" id="{1E2586CD-FC8A-4193-BFF7-ECED4D8ABA5A}"/>
              </a:ext>
            </a:extLst>
          </p:cNvPr>
          <p:cNvSpPr>
            <a:spLocks noGrp="1"/>
          </p:cNvSpPr>
          <p:nvPr>
            <p:ph type="subTitle" idx="1"/>
          </p:nvPr>
        </p:nvSpPr>
        <p:spPr>
          <a:xfrm>
            <a:off x="721744" y="4402666"/>
            <a:ext cx="5658425" cy="618067"/>
          </a:xfrm>
        </p:spPr>
        <p:txBody>
          <a:bodyPr/>
          <a:lstStyle/>
          <a:p>
            <a:r>
              <a:rPr lang="en-US" sz="2800" noProof="0" dirty="0">
                <a:latin typeface="Santander Headline" panose="020B0504020201020104" pitchFamily="34" charset="0"/>
              </a:rPr>
              <a:t>Presented by: Santander Bank, N.A.</a:t>
            </a:r>
          </a:p>
        </p:txBody>
      </p:sp>
      <p:pic>
        <p:nvPicPr>
          <p:cNvPr id="7" name="Picture 6">
            <a:extLst>
              <a:ext uri="{FF2B5EF4-FFF2-40B4-BE49-F238E27FC236}">
                <a16:creationId xmlns:a16="http://schemas.microsoft.com/office/drawing/2014/main" id="{F55846AD-6F65-B840-E37C-88D155893A05}"/>
              </a:ext>
            </a:extLst>
          </p:cNvPr>
          <p:cNvPicPr>
            <a:picLocks noChangeAspect="1"/>
          </p:cNvPicPr>
          <p:nvPr/>
        </p:nvPicPr>
        <p:blipFill>
          <a:blip r:embed="rId6"/>
          <a:stretch>
            <a:fillRect/>
          </a:stretch>
        </p:blipFill>
        <p:spPr>
          <a:xfrm>
            <a:off x="8825502" y="0"/>
            <a:ext cx="3366498" cy="709129"/>
          </a:xfrm>
          <a:prstGeom prst="rect">
            <a:avLst/>
          </a:prstGeom>
        </p:spPr>
      </p:pic>
    </p:spTree>
    <p:extLst>
      <p:ext uri="{BB962C8B-B14F-4D97-AF65-F5344CB8AC3E}">
        <p14:creationId xmlns:p14="http://schemas.microsoft.com/office/powerpoint/2010/main" val="1125657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891DC7-9301-4E87-858D-1F90BBD28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6" progId="TCLayout.ActiveDocument.1">
                  <p:embed/>
                </p:oleObj>
              </mc:Choice>
              <mc:Fallback>
                <p:oleObj name="think-cell Slide" r:id="rId4" imgW="444" imgH="446" progId="TCLayout.ActiveDocument.1">
                  <p:embed/>
                  <p:pic>
                    <p:nvPicPr>
                      <p:cNvPr id="2" name="Object 1" hidden="1">
                        <a:extLst>
                          <a:ext uri="{FF2B5EF4-FFF2-40B4-BE49-F238E27FC236}">
                            <a16:creationId xmlns:a16="http://schemas.microsoft.com/office/drawing/2014/main" id="{EB891DC7-9301-4E87-858D-1F90BBD28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1">
            <a:extLst>
              <a:ext uri="{FF2B5EF4-FFF2-40B4-BE49-F238E27FC236}">
                <a16:creationId xmlns:a16="http://schemas.microsoft.com/office/drawing/2014/main" id="{C7319B48-55FB-4B61-80E3-67430667EDDD}"/>
              </a:ext>
            </a:extLst>
          </p:cNvPr>
          <p:cNvSpPr txBox="1">
            <a:spLocks/>
          </p:cNvSpPr>
          <p:nvPr/>
        </p:nvSpPr>
        <p:spPr>
          <a:xfrm>
            <a:off x="306084" y="322764"/>
            <a:ext cx="11233227" cy="491239"/>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Tx/>
              <a:buSzTx/>
              <a:buFontTx/>
              <a:buNone/>
              <a:tabLst/>
              <a:defRPr sz="2800" kern="1200">
                <a:solidFill>
                  <a:schemeClr val="tx2"/>
                </a:solidFill>
                <a:latin typeface="+mj-lt"/>
                <a:ea typeface="+mn-ea"/>
                <a:cs typeface="+mn-cs"/>
              </a:defRPr>
            </a:lvl1pPr>
            <a:lvl2pPr marL="457200" indent="0" algn="l" defTabSz="914400" rtl="0" eaLnBrk="1" latinLnBrk="0" hangingPunct="1">
              <a:lnSpc>
                <a:spcPct val="90000"/>
              </a:lnSpc>
              <a:spcBef>
                <a:spcPts val="500"/>
              </a:spcBef>
              <a:buFontTx/>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05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marR="0" lvl="0" indent="0" algn="l" defTabSz="914400" rtl="0" eaLnBrk="1" fontAlgn="auto" latinLnBrk="0" hangingPunct="1">
              <a:lnSpc>
                <a:spcPts val="2280"/>
              </a:lnSpc>
              <a:spcBef>
                <a:spcPts val="100"/>
              </a:spcBef>
              <a:spcAft>
                <a:spcPts val="0"/>
              </a:spcAft>
              <a:buClrTx/>
              <a:buSzTx/>
              <a:buFontTx/>
              <a:buNone/>
              <a:tabLst/>
              <a:defRPr/>
            </a:pPr>
            <a:r>
              <a:rPr kumimoji="0" lang="en-US" sz="2400" b="1"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rPr>
              <a:t>NESGFOA | Industry Fraud Trends and Analysis</a:t>
            </a:r>
            <a:endParaRPr kumimoji="0" lang="en-US" sz="2400" b="0"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endParaRPr>
          </a:p>
        </p:txBody>
      </p:sp>
      <p:sp>
        <p:nvSpPr>
          <p:cNvPr id="13" name="object 2">
            <a:extLst>
              <a:ext uri="{FF2B5EF4-FFF2-40B4-BE49-F238E27FC236}">
                <a16:creationId xmlns:a16="http://schemas.microsoft.com/office/drawing/2014/main" id="{D97BE58F-FA1E-4A83-478F-AC66B425C127}"/>
              </a:ext>
            </a:extLst>
          </p:cNvPr>
          <p:cNvSpPr/>
          <p:nvPr/>
        </p:nvSpPr>
        <p:spPr>
          <a:xfrm>
            <a:off x="0" y="965771"/>
            <a:ext cx="12192000" cy="5067039"/>
          </a:xfrm>
          <a:custGeom>
            <a:avLst/>
            <a:gdLst/>
            <a:ahLst/>
            <a:cxnLst/>
            <a:rect l="l" t="t" r="r" b="b"/>
            <a:pathLst>
              <a:path w="9144000" h="4038600">
                <a:moveTo>
                  <a:pt x="0" y="4038600"/>
                </a:moveTo>
                <a:lnTo>
                  <a:pt x="9144000" y="4038600"/>
                </a:lnTo>
                <a:lnTo>
                  <a:pt x="9144000" y="0"/>
                </a:lnTo>
                <a:lnTo>
                  <a:pt x="0" y="0"/>
                </a:lnTo>
                <a:lnTo>
                  <a:pt x="0" y="4038600"/>
                </a:lnTo>
                <a:close/>
              </a:path>
            </a:pathLst>
          </a:custGeom>
          <a:solidFill>
            <a:srgbClr val="DEEBF0"/>
          </a:solidFill>
        </p:spPr>
        <p:txBody>
          <a:bodyPr wrap="square" lIns="0" tIns="0" rIns="0" bIns="0" rtlCol="0"/>
          <a:lstStyle/>
          <a:p>
            <a:endParaRPr dirty="0">
              <a:latin typeface="Santander Headline" panose="020B0504020201020104" pitchFamily="34" charset="0"/>
            </a:endParaRPr>
          </a:p>
        </p:txBody>
      </p:sp>
      <p:sp>
        <p:nvSpPr>
          <p:cNvPr id="5" name="TextBox 4">
            <a:extLst>
              <a:ext uri="{FF2B5EF4-FFF2-40B4-BE49-F238E27FC236}">
                <a16:creationId xmlns:a16="http://schemas.microsoft.com/office/drawing/2014/main" id="{817CC65B-A98D-674A-C3CD-C9460437DA8B}"/>
              </a:ext>
            </a:extLst>
          </p:cNvPr>
          <p:cNvSpPr txBox="1"/>
          <p:nvPr/>
        </p:nvSpPr>
        <p:spPr>
          <a:xfrm>
            <a:off x="390418" y="1030749"/>
            <a:ext cx="11260476" cy="4478149"/>
          </a:xfrm>
          <a:prstGeom prst="rect">
            <a:avLst/>
          </a:prstGeom>
          <a:noFill/>
        </p:spPr>
        <p:txBody>
          <a:bodyPr wrap="square">
            <a:spAutoFit/>
          </a:bodyPr>
          <a:lstStyle/>
          <a:p>
            <a:pPr marL="285750" marR="690245" lvl="0" indent="-285750" fontAlgn="auto">
              <a:lnSpc>
                <a:spcPct val="100000"/>
              </a:lnSpc>
              <a:spcBef>
                <a:spcPts val="1800"/>
              </a:spcBef>
              <a:spcAft>
                <a:spcPts val="0"/>
              </a:spcAft>
              <a:buClrTx/>
              <a:buSzTx/>
              <a:buFont typeface="Courier New" panose="02070309020205020404" pitchFamily="49" charset="0"/>
              <a:buChar char="o"/>
              <a:tabLst>
                <a:tab pos="817880" algn="l"/>
              </a:tabLst>
              <a:defRPr/>
            </a:pPr>
            <a:r>
              <a:rPr lang="en-US" sz="2000" dirty="0">
                <a:latin typeface="Santander Headline" panose="020B0504020201020104" pitchFamily="34" charset="0"/>
              </a:rPr>
              <a:t>US Consumers and Businesses reported over $12.5 Billion in Cyber related fraud losses in 2023, a 22% increase from prior year 2022</a:t>
            </a:r>
            <a:r>
              <a:rPr lang="en-US" sz="2000" spc="-7" baseline="20833" dirty="0">
                <a:latin typeface="Santander Headline" panose="020B0504020201020104" pitchFamily="34" charset="0"/>
                <a:cs typeface="Segoe UI"/>
              </a:rPr>
              <a:t>1</a:t>
            </a:r>
            <a:r>
              <a:rPr lang="en-US" sz="2000" dirty="0">
                <a:latin typeface="Santander Headline" panose="020B0504020201020104" pitchFamily="34" charset="0"/>
              </a:rPr>
              <a:t>. Scams which can impact legitimate business accounts are the primary driver behind the year over year increase. </a:t>
            </a:r>
          </a:p>
          <a:p>
            <a:pPr marL="285750" marR="0" lvl="0" indent="-285750" fontAlgn="auto">
              <a:lnSpc>
                <a:spcPct val="100000"/>
              </a:lnSpc>
              <a:spcBef>
                <a:spcPts val="1805"/>
              </a:spcBef>
              <a:spcAft>
                <a:spcPts val="0"/>
              </a:spcAft>
              <a:buClrTx/>
              <a:buSzTx/>
              <a:buFont typeface="Courier New" panose="02070309020205020404" pitchFamily="49" charset="0"/>
              <a:buChar char="o"/>
              <a:tabLst>
                <a:tab pos="817880" algn="l"/>
              </a:tabLst>
              <a:defRPr/>
            </a:pPr>
            <a:r>
              <a:rPr lang="en-US" sz="2000" dirty="0">
                <a:latin typeface="Santander Headline" panose="020B0504020201020104" pitchFamily="34" charset="0"/>
              </a:rPr>
              <a:t>North American Check fraud loss exceeded $21 Billion in 2023</a:t>
            </a:r>
            <a:r>
              <a:rPr lang="en-US" sz="2000" spc="-7" baseline="20833" dirty="0">
                <a:latin typeface="Santander Headline" panose="020B0504020201020104" pitchFamily="34" charset="0"/>
                <a:cs typeface="Segoe UI"/>
              </a:rPr>
              <a:t>2</a:t>
            </a:r>
            <a:r>
              <a:rPr lang="en-US" sz="2000" dirty="0">
                <a:latin typeface="Santander Headline" panose="020B0504020201020104" pitchFamily="34" charset="0"/>
              </a:rPr>
              <a:t> as items continue to be stolen in the mail and across transit between account holders and billers. </a:t>
            </a:r>
            <a:r>
              <a:rPr lang="en-US" sz="2000" b="1" dirty="0">
                <a:latin typeface="Santander Headline" panose="020B0504020201020104" pitchFamily="34" charset="0"/>
              </a:rPr>
              <a:t>Financial Institutions investments into Check and Deposit fraud controls must be supported by Commercial and Business reviews of in-clearing items in Positive Pay and Payee Positive Pay</a:t>
            </a:r>
            <a:r>
              <a:rPr lang="en-US" sz="2000" dirty="0">
                <a:latin typeface="Santander Headline" panose="020B0504020201020104" pitchFamily="34" charset="0"/>
              </a:rPr>
              <a:t>. </a:t>
            </a:r>
          </a:p>
          <a:p>
            <a:pPr marL="285750" lvl="0" indent="-285750">
              <a:spcBef>
                <a:spcPts val="1805"/>
              </a:spcBef>
              <a:buFont typeface="Courier New" panose="02070309020205020404" pitchFamily="49" charset="0"/>
              <a:buChar char="o"/>
              <a:tabLst>
                <a:tab pos="817880" algn="l"/>
              </a:tabLst>
              <a:defRPr/>
            </a:pPr>
            <a:r>
              <a:rPr lang="en-US" sz="2000" dirty="0">
                <a:latin typeface="Santander Headline" panose="020B0504020201020104" pitchFamily="34" charset="0"/>
              </a:rPr>
              <a:t>Small Businesses are frequent targets as they typically have fewer protections in place than Commercial and Government Banking entities, making them more attractive targets for criminal activity. 60% of small business fraud victims are not able to recover any of their losses</a:t>
            </a:r>
            <a:r>
              <a:rPr lang="en-US" sz="2000" spc="-7" baseline="20833" dirty="0">
                <a:latin typeface="Santander Headline" panose="020B0504020201020104" pitchFamily="34" charset="0"/>
                <a:cs typeface="Segoe UI"/>
              </a:rPr>
              <a:t>3</a:t>
            </a:r>
            <a:r>
              <a:rPr lang="en-US" sz="2000" dirty="0">
                <a:latin typeface="Santander Headline" panose="020B0504020201020104" pitchFamily="34" charset="0"/>
              </a:rPr>
              <a:t>. </a:t>
            </a:r>
          </a:p>
          <a:p>
            <a:pPr marL="285750" indent="-285750">
              <a:spcBef>
                <a:spcPts val="1805"/>
              </a:spcBef>
              <a:buFont typeface="Courier New" panose="02070309020205020404" pitchFamily="49" charset="0"/>
              <a:buChar char="o"/>
              <a:tabLst>
                <a:tab pos="817880" algn="l"/>
              </a:tabLst>
              <a:defRPr/>
            </a:pPr>
            <a:r>
              <a:rPr lang="en-US" sz="2000" dirty="0">
                <a:latin typeface="Santander Headline" panose="020B0504020201020104" pitchFamily="34" charset="0"/>
              </a:rPr>
              <a:t>Data breaches continue to occur leading to the availability of personally identifiable information (PII) that can be used by fraudsters to circumvent authentication protocols and commit fraud against organizations. </a:t>
            </a:r>
          </a:p>
        </p:txBody>
      </p:sp>
      <p:pic>
        <p:nvPicPr>
          <p:cNvPr id="15" name="Picture 14">
            <a:extLst>
              <a:ext uri="{FF2B5EF4-FFF2-40B4-BE49-F238E27FC236}">
                <a16:creationId xmlns:a16="http://schemas.microsoft.com/office/drawing/2014/main" id="{3ACF842C-58E1-8B5D-EC2F-8CC5D5BD3CBC}"/>
              </a:ext>
            </a:extLst>
          </p:cNvPr>
          <p:cNvPicPr>
            <a:picLocks noChangeAspect="1"/>
          </p:cNvPicPr>
          <p:nvPr/>
        </p:nvPicPr>
        <p:blipFill>
          <a:blip r:embed="rId6"/>
          <a:stretch>
            <a:fillRect/>
          </a:stretch>
        </p:blipFill>
        <p:spPr>
          <a:xfrm>
            <a:off x="9155150" y="6218309"/>
            <a:ext cx="3036849" cy="639691"/>
          </a:xfrm>
          <a:prstGeom prst="rect">
            <a:avLst/>
          </a:prstGeom>
        </p:spPr>
      </p:pic>
      <p:sp>
        <p:nvSpPr>
          <p:cNvPr id="17" name="TextBox 16">
            <a:extLst>
              <a:ext uri="{FF2B5EF4-FFF2-40B4-BE49-F238E27FC236}">
                <a16:creationId xmlns:a16="http://schemas.microsoft.com/office/drawing/2014/main" id="{4C44F76F-EDF2-ADE8-B548-BE78FF940438}"/>
              </a:ext>
            </a:extLst>
          </p:cNvPr>
          <p:cNvSpPr txBox="1"/>
          <p:nvPr/>
        </p:nvSpPr>
        <p:spPr>
          <a:xfrm>
            <a:off x="2386361" y="6272778"/>
            <a:ext cx="4259766" cy="507831"/>
          </a:xfrm>
          <a:prstGeom prst="rect">
            <a:avLst/>
          </a:prstGeom>
          <a:noFill/>
        </p:spPr>
        <p:txBody>
          <a:bodyPr wrap="square" rtlCol="0">
            <a:spAutoFit/>
          </a:bodyPr>
          <a:lstStyle/>
          <a:p>
            <a:r>
              <a:rPr lang="en-US" sz="900" dirty="0">
                <a:latin typeface="Santander Headline" panose="020B0504020201020104" pitchFamily="34" charset="0"/>
              </a:rPr>
              <a:t>1 Federal Bureau of Investigation – Internet Crime Report 2023 </a:t>
            </a:r>
          </a:p>
          <a:p>
            <a:r>
              <a:rPr lang="en-US" sz="900" dirty="0">
                <a:latin typeface="Santander Headline" panose="020B0504020201020104" pitchFamily="34" charset="0"/>
              </a:rPr>
              <a:t>2 NASDAQ Global Financial Crime Report 2023 (Authored by </a:t>
            </a:r>
            <a:r>
              <a:rPr lang="en-US" sz="900" dirty="0" err="1">
                <a:latin typeface="Santander Headline" panose="020B0504020201020104" pitchFamily="34" charset="0"/>
              </a:rPr>
              <a:t>Verafin</a:t>
            </a:r>
            <a:r>
              <a:rPr lang="en-US" sz="900" dirty="0">
                <a:latin typeface="Santander Headline" panose="020B0504020201020104" pitchFamily="34" charset="0"/>
              </a:rPr>
              <a:t>)</a:t>
            </a:r>
          </a:p>
          <a:p>
            <a:r>
              <a:rPr lang="en-US" sz="900" dirty="0">
                <a:latin typeface="Santander Headline" panose="020B0504020201020104" pitchFamily="34" charset="0"/>
              </a:rPr>
              <a:t>3 ACFE’s Occupational Fraud Report 2022</a:t>
            </a:r>
          </a:p>
        </p:txBody>
      </p:sp>
    </p:spTree>
    <p:extLst>
      <p:ext uri="{BB962C8B-B14F-4D97-AF65-F5344CB8AC3E}">
        <p14:creationId xmlns:p14="http://schemas.microsoft.com/office/powerpoint/2010/main" val="20538164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891DC7-9301-4E87-858D-1F90BBD28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6" progId="TCLayout.ActiveDocument.1">
                  <p:embed/>
                </p:oleObj>
              </mc:Choice>
              <mc:Fallback>
                <p:oleObj name="think-cell Slide" r:id="rId4" imgW="444" imgH="446" progId="TCLayout.ActiveDocument.1">
                  <p:embed/>
                  <p:pic>
                    <p:nvPicPr>
                      <p:cNvPr id="2" name="Object 1" hidden="1">
                        <a:extLst>
                          <a:ext uri="{FF2B5EF4-FFF2-40B4-BE49-F238E27FC236}">
                            <a16:creationId xmlns:a16="http://schemas.microsoft.com/office/drawing/2014/main" id="{EB891DC7-9301-4E87-858D-1F90BBD28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1">
            <a:extLst>
              <a:ext uri="{FF2B5EF4-FFF2-40B4-BE49-F238E27FC236}">
                <a16:creationId xmlns:a16="http://schemas.microsoft.com/office/drawing/2014/main" id="{C7319B48-55FB-4B61-80E3-67430667EDDD}"/>
              </a:ext>
            </a:extLst>
          </p:cNvPr>
          <p:cNvSpPr txBox="1">
            <a:spLocks/>
          </p:cNvSpPr>
          <p:nvPr/>
        </p:nvSpPr>
        <p:spPr>
          <a:xfrm>
            <a:off x="306084" y="322764"/>
            <a:ext cx="11233227" cy="491239"/>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Tx/>
              <a:buSzTx/>
              <a:buFontTx/>
              <a:buNone/>
              <a:tabLst/>
              <a:defRPr sz="2800" kern="1200">
                <a:solidFill>
                  <a:schemeClr val="tx2"/>
                </a:solidFill>
                <a:latin typeface="+mj-lt"/>
                <a:ea typeface="+mn-ea"/>
                <a:cs typeface="+mn-cs"/>
              </a:defRPr>
            </a:lvl1pPr>
            <a:lvl2pPr marL="457200" indent="0" algn="l" defTabSz="914400" rtl="0" eaLnBrk="1" latinLnBrk="0" hangingPunct="1">
              <a:lnSpc>
                <a:spcPct val="90000"/>
              </a:lnSpc>
              <a:spcBef>
                <a:spcPts val="500"/>
              </a:spcBef>
              <a:buFontTx/>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05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marR="0" lvl="0" indent="0" algn="l" defTabSz="914400" rtl="0" eaLnBrk="1" fontAlgn="auto" latinLnBrk="0" hangingPunct="1">
              <a:lnSpc>
                <a:spcPts val="2280"/>
              </a:lnSpc>
              <a:spcBef>
                <a:spcPts val="100"/>
              </a:spcBef>
              <a:spcAft>
                <a:spcPts val="0"/>
              </a:spcAft>
              <a:buClrTx/>
              <a:buSzTx/>
              <a:buFontTx/>
              <a:buNone/>
              <a:tabLst/>
              <a:defRPr/>
            </a:pPr>
            <a:r>
              <a:rPr kumimoji="0" lang="en-US" sz="2400" b="1"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rPr>
              <a:t>NESGFOA | Industry Fraud Trends and Analysis</a:t>
            </a:r>
            <a:endParaRPr kumimoji="0" lang="en-US" sz="2400" b="0"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endParaRPr>
          </a:p>
        </p:txBody>
      </p:sp>
      <p:sp>
        <p:nvSpPr>
          <p:cNvPr id="13" name="TextBox 12">
            <a:extLst>
              <a:ext uri="{FF2B5EF4-FFF2-40B4-BE49-F238E27FC236}">
                <a16:creationId xmlns:a16="http://schemas.microsoft.com/office/drawing/2014/main" id="{E542CF5D-D9CE-C8A2-0C82-6E95115FCD50}"/>
              </a:ext>
            </a:extLst>
          </p:cNvPr>
          <p:cNvSpPr txBox="1"/>
          <p:nvPr/>
        </p:nvSpPr>
        <p:spPr>
          <a:xfrm>
            <a:off x="2386361" y="6272778"/>
            <a:ext cx="4259766" cy="230832"/>
          </a:xfrm>
          <a:prstGeom prst="rect">
            <a:avLst/>
          </a:prstGeom>
          <a:noFill/>
        </p:spPr>
        <p:txBody>
          <a:bodyPr wrap="square" rtlCol="0">
            <a:spAutoFit/>
          </a:bodyPr>
          <a:lstStyle/>
          <a:p>
            <a:r>
              <a:rPr lang="en-US" sz="900" dirty="0">
                <a:latin typeface="Santander Headline" panose="020B0504020201020104" pitchFamily="34" charset="0"/>
              </a:rPr>
              <a:t>4 Infrastructure Security Agency (2020)</a:t>
            </a:r>
          </a:p>
        </p:txBody>
      </p:sp>
      <p:sp>
        <p:nvSpPr>
          <p:cNvPr id="14" name="Rectangle 13">
            <a:extLst>
              <a:ext uri="{FF2B5EF4-FFF2-40B4-BE49-F238E27FC236}">
                <a16:creationId xmlns:a16="http://schemas.microsoft.com/office/drawing/2014/main" id="{9D45F922-9163-59AF-2C37-9AD0B1C73BA1}"/>
              </a:ext>
            </a:extLst>
          </p:cNvPr>
          <p:cNvSpPr/>
          <p:nvPr/>
        </p:nvSpPr>
        <p:spPr>
          <a:xfrm>
            <a:off x="304799" y="3434576"/>
            <a:ext cx="11582401" cy="2698595"/>
          </a:xfrm>
          <a:prstGeom prst="rect">
            <a:avLst/>
          </a:prstGeom>
          <a:solidFill>
            <a:srgbClr val="DEEDF2"/>
          </a:solidFill>
        </p:spPr>
        <p:txBody>
          <a:bodyPr wrap="square">
            <a:noAutofit/>
          </a:bodyPr>
          <a:lstStyle/>
          <a:p>
            <a:pPr>
              <a:spcBef>
                <a:spcPts val="1005"/>
              </a:spcBef>
            </a:pPr>
            <a:r>
              <a:rPr lang="en-US" b="1" dirty="0">
                <a:solidFill>
                  <a:srgbClr val="C00000"/>
                </a:solidFill>
                <a:latin typeface="Santander Headline" panose="020B0504020201020104" pitchFamily="34" charset="0"/>
                <a:ea typeface="Open Sans" panose="020B0606030504020204" pitchFamily="34" charset="0"/>
                <a:cs typeface="Open Sans" panose="020B0606030504020204" pitchFamily="34" charset="0"/>
              </a:rPr>
              <a:t>Tips To Help Prevent A Phishing and Imposter Scams</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Know the signs; urgent requests and demands, poor grammar/spelling, unusual sender address, misleading links, shoddy graphics.</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Educate your staff on what to watch for and encourage staff to report suspicious Emails, SMS messages, and Voice calls. </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Refuse to provide callers with account data or personally identifiable information. Verify identity before transacting with another.</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Install corporate-approved anti-phishing filters/software to scan browsers/emails/attachments. </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Implement strong internal controls with separation of duties throughout the procurement and accounts payable processes. </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Know your vendors and question changes to receivable accounts and verified information on file. Remove inactive vendors.</a:t>
            </a:r>
          </a:p>
        </p:txBody>
      </p:sp>
      <p:sp>
        <p:nvSpPr>
          <p:cNvPr id="16" name="object 4">
            <a:extLst>
              <a:ext uri="{FF2B5EF4-FFF2-40B4-BE49-F238E27FC236}">
                <a16:creationId xmlns:a16="http://schemas.microsoft.com/office/drawing/2014/main" id="{2787391A-E2A7-FCCB-FE4A-3CB4C4A26C43}"/>
              </a:ext>
            </a:extLst>
          </p:cNvPr>
          <p:cNvSpPr txBox="1"/>
          <p:nvPr/>
        </p:nvSpPr>
        <p:spPr>
          <a:xfrm>
            <a:off x="429805" y="873103"/>
            <a:ext cx="9093336" cy="2459648"/>
          </a:xfrm>
          <a:prstGeom prst="rect">
            <a:avLst/>
          </a:prstGeom>
        </p:spPr>
        <p:txBody>
          <a:bodyPr vert="horz" wrap="square" lIns="0" tIns="12700" rIns="0" bIns="0" rtlCol="0">
            <a:spAutoFit/>
          </a:bodyPr>
          <a:lstStyle/>
          <a:p>
            <a:pPr marL="12700" marR="5080">
              <a:spcAft>
                <a:spcPts val="600"/>
              </a:spcAft>
            </a:pPr>
            <a:r>
              <a:rPr lang="en-US" sz="1800" b="1" spc="35" dirty="0">
                <a:latin typeface="Santander Headline" panose="020B0504020201020104" pitchFamily="34" charset="0"/>
                <a:cs typeface="Calibri"/>
              </a:rPr>
              <a:t>Phishing: </a:t>
            </a:r>
            <a:r>
              <a:rPr lang="en-US" spc="15" dirty="0">
                <a:latin typeface="Santander Headline" panose="020B0504020201020104" pitchFamily="34" charset="0"/>
                <a:cs typeface="Calibri"/>
              </a:rPr>
              <a:t>E</a:t>
            </a:r>
            <a:r>
              <a:rPr lang="en-US" sz="1800" spc="30" dirty="0">
                <a:latin typeface="Santander Headline" panose="020B0504020201020104" pitchFamily="34" charset="0"/>
                <a:cs typeface="Calibri"/>
              </a:rPr>
              <a:t>mails</a:t>
            </a:r>
            <a:r>
              <a:rPr lang="en-US" sz="1800" spc="-45" dirty="0">
                <a:latin typeface="Santander Headline" panose="020B0504020201020104" pitchFamily="34" charset="0"/>
                <a:cs typeface="Calibri"/>
              </a:rPr>
              <a:t> </a:t>
            </a:r>
            <a:r>
              <a:rPr lang="en-US" sz="1800" spc="-5" dirty="0">
                <a:latin typeface="Santander Headline" panose="020B0504020201020104" pitchFamily="34" charset="0"/>
                <a:cs typeface="Calibri"/>
              </a:rPr>
              <a:t>purporting</a:t>
            </a:r>
            <a:r>
              <a:rPr lang="en-US" sz="1800" spc="50" dirty="0">
                <a:latin typeface="Santander Headline" panose="020B0504020201020104" pitchFamily="34" charset="0"/>
                <a:cs typeface="Calibri"/>
              </a:rPr>
              <a:t> </a:t>
            </a:r>
            <a:r>
              <a:rPr lang="en-US" sz="1800" spc="-5" dirty="0">
                <a:latin typeface="Santander Headline" panose="020B0504020201020104" pitchFamily="34" charset="0"/>
                <a:cs typeface="Calibri"/>
              </a:rPr>
              <a:t>to</a:t>
            </a:r>
            <a:r>
              <a:rPr lang="en-US" sz="1800" spc="-55" dirty="0">
                <a:latin typeface="Santander Headline" panose="020B0504020201020104" pitchFamily="34" charset="0"/>
                <a:cs typeface="Calibri"/>
              </a:rPr>
              <a:t> </a:t>
            </a:r>
            <a:r>
              <a:rPr lang="en-US" sz="1800" spc="20" dirty="0">
                <a:latin typeface="Santander Headline" panose="020B0504020201020104" pitchFamily="34" charset="0"/>
                <a:cs typeface="Calibri"/>
              </a:rPr>
              <a:t>be</a:t>
            </a:r>
            <a:r>
              <a:rPr lang="en-US" sz="1800" spc="-5" dirty="0">
                <a:latin typeface="Santander Headline" panose="020B0504020201020104" pitchFamily="34" charset="0"/>
                <a:cs typeface="Calibri"/>
              </a:rPr>
              <a:t> </a:t>
            </a:r>
            <a:r>
              <a:rPr lang="en-US" sz="1800" spc="5" dirty="0">
                <a:latin typeface="Santander Headline" panose="020B0504020201020104" pitchFamily="34" charset="0"/>
                <a:cs typeface="Calibri"/>
              </a:rPr>
              <a:t>from</a:t>
            </a:r>
            <a:r>
              <a:rPr lang="en-US" sz="1800" spc="-30" dirty="0">
                <a:latin typeface="Santander Headline" panose="020B0504020201020104" pitchFamily="34" charset="0"/>
                <a:cs typeface="Calibri"/>
              </a:rPr>
              <a:t> </a:t>
            </a:r>
            <a:r>
              <a:rPr lang="en-US" sz="1800" spc="-5" dirty="0">
                <a:latin typeface="Santander Headline" panose="020B0504020201020104" pitchFamily="34" charset="0"/>
                <a:cs typeface="Calibri"/>
              </a:rPr>
              <a:t>reputable</a:t>
            </a:r>
            <a:r>
              <a:rPr lang="en-US" sz="1800" spc="-85" dirty="0">
                <a:latin typeface="Santander Headline" panose="020B0504020201020104" pitchFamily="34" charset="0"/>
                <a:cs typeface="Calibri"/>
              </a:rPr>
              <a:t> </a:t>
            </a:r>
            <a:r>
              <a:rPr lang="en-US" sz="1800" dirty="0">
                <a:latin typeface="Santander Headline" panose="020B0504020201020104" pitchFamily="34" charset="0"/>
                <a:cs typeface="Calibri"/>
              </a:rPr>
              <a:t>companies</a:t>
            </a:r>
            <a:r>
              <a:rPr lang="en-US" sz="1800" spc="-40" dirty="0">
                <a:latin typeface="Santander Headline" panose="020B0504020201020104" pitchFamily="34" charset="0"/>
                <a:cs typeface="Calibri"/>
              </a:rPr>
              <a:t> </a:t>
            </a:r>
            <a:r>
              <a:rPr lang="en-US" sz="1800" spc="-5" dirty="0">
                <a:latin typeface="Santander Headline" panose="020B0504020201020104" pitchFamily="34" charset="0"/>
                <a:cs typeface="Calibri"/>
              </a:rPr>
              <a:t>to</a:t>
            </a:r>
            <a:r>
              <a:rPr lang="en-US" sz="1800" spc="-50" dirty="0">
                <a:latin typeface="Santander Headline" panose="020B0504020201020104" pitchFamily="34" charset="0"/>
                <a:cs typeface="Calibri"/>
              </a:rPr>
              <a:t> </a:t>
            </a:r>
            <a:r>
              <a:rPr lang="en-US" sz="1800" spc="-10" dirty="0">
                <a:latin typeface="Santander Headline" panose="020B0504020201020104" pitchFamily="34" charset="0"/>
                <a:cs typeface="Calibri"/>
              </a:rPr>
              <a:t>induce</a:t>
            </a:r>
            <a:r>
              <a:rPr lang="en-US" sz="1800" spc="-20" dirty="0">
                <a:latin typeface="Santander Headline" panose="020B0504020201020104" pitchFamily="34" charset="0"/>
                <a:cs typeface="Calibri"/>
              </a:rPr>
              <a:t> </a:t>
            </a:r>
            <a:r>
              <a:rPr lang="en-US" sz="1800" spc="5" dirty="0">
                <a:latin typeface="Santander Headline" panose="020B0504020201020104" pitchFamily="34" charset="0"/>
                <a:cs typeface="Calibri"/>
              </a:rPr>
              <a:t>individuals </a:t>
            </a:r>
            <a:r>
              <a:rPr lang="en-US" sz="1800" spc="-15" dirty="0">
                <a:latin typeface="Santander Headline" panose="020B0504020201020104" pitchFamily="34" charset="0"/>
                <a:cs typeface="Calibri"/>
              </a:rPr>
              <a:t>to </a:t>
            </a:r>
            <a:r>
              <a:rPr lang="en-US" sz="1800" spc="-5" dirty="0">
                <a:latin typeface="Santander Headline" panose="020B0504020201020104" pitchFamily="34" charset="0"/>
                <a:cs typeface="Calibri"/>
              </a:rPr>
              <a:t>reveal </a:t>
            </a:r>
            <a:r>
              <a:rPr lang="en-US" sz="1800" spc="10" dirty="0">
                <a:latin typeface="Santander Headline" panose="020B0504020201020104" pitchFamily="34" charset="0"/>
                <a:cs typeface="Calibri"/>
              </a:rPr>
              <a:t>personal</a:t>
            </a:r>
            <a:r>
              <a:rPr lang="en-US" sz="1800" spc="-114" dirty="0">
                <a:latin typeface="Santander Headline" panose="020B0504020201020104" pitchFamily="34" charset="0"/>
                <a:cs typeface="Calibri"/>
              </a:rPr>
              <a:t> </a:t>
            </a:r>
            <a:r>
              <a:rPr lang="en-US" sz="1800" spc="-5" dirty="0">
                <a:latin typeface="Santander Headline" panose="020B0504020201020104" pitchFamily="34" charset="0"/>
                <a:cs typeface="Calibri"/>
              </a:rPr>
              <a:t>and confidential information.</a:t>
            </a:r>
            <a:r>
              <a:rPr lang="en-US" sz="1800" b="1" spc="35" dirty="0">
                <a:latin typeface="Santander Headline" panose="020B0504020201020104" pitchFamily="34" charset="0"/>
                <a:cs typeface="Calibri"/>
              </a:rPr>
              <a:t> Spear-phishing</a:t>
            </a:r>
            <a:r>
              <a:rPr lang="en-US" sz="1800" spc="35" dirty="0">
                <a:latin typeface="Santander Headline" panose="020B0504020201020104" pitchFamily="34" charset="0"/>
                <a:cs typeface="Calibri"/>
              </a:rPr>
              <a:t> is a</a:t>
            </a:r>
            <a:r>
              <a:rPr lang="en-US" sz="1800" spc="-15" dirty="0">
                <a:latin typeface="Santander Headline" panose="020B0504020201020104" pitchFamily="34" charset="0"/>
                <a:cs typeface="Calibri"/>
              </a:rPr>
              <a:t> </a:t>
            </a:r>
            <a:r>
              <a:rPr lang="en-US" sz="1800" spc="5" dirty="0">
                <a:latin typeface="Santander Headline" panose="020B0504020201020104" pitchFamily="34" charset="0"/>
                <a:cs typeface="Calibri"/>
              </a:rPr>
              <a:t>form</a:t>
            </a:r>
            <a:r>
              <a:rPr lang="en-US" sz="1800" spc="-15" dirty="0">
                <a:latin typeface="Santander Headline" panose="020B0504020201020104" pitchFamily="34" charset="0"/>
                <a:cs typeface="Calibri"/>
              </a:rPr>
              <a:t> </a:t>
            </a:r>
            <a:r>
              <a:rPr lang="en-US" sz="1800" spc="30" dirty="0">
                <a:latin typeface="Santander Headline" panose="020B0504020201020104" pitchFamily="34" charset="0"/>
                <a:cs typeface="Calibri"/>
              </a:rPr>
              <a:t>of</a:t>
            </a:r>
            <a:r>
              <a:rPr lang="en-US" sz="1800" spc="-55" dirty="0">
                <a:latin typeface="Santander Headline" panose="020B0504020201020104" pitchFamily="34" charset="0"/>
                <a:cs typeface="Calibri"/>
              </a:rPr>
              <a:t> </a:t>
            </a:r>
            <a:r>
              <a:rPr lang="en-US" sz="1800" spc="10" dirty="0">
                <a:latin typeface="Santander Headline" panose="020B0504020201020104" pitchFamily="34" charset="0"/>
                <a:cs typeface="Calibri"/>
              </a:rPr>
              <a:t>phishing</a:t>
            </a:r>
            <a:r>
              <a:rPr lang="en-US" sz="1800" spc="-40" dirty="0">
                <a:latin typeface="Santander Headline" panose="020B0504020201020104" pitchFamily="34" charset="0"/>
                <a:cs typeface="Calibri"/>
              </a:rPr>
              <a:t> </a:t>
            </a:r>
            <a:r>
              <a:rPr lang="en-US" sz="1800" spc="-5" dirty="0">
                <a:latin typeface="Santander Headline" panose="020B0504020201020104" pitchFamily="34" charset="0"/>
                <a:cs typeface="Calibri"/>
              </a:rPr>
              <a:t>targeted</a:t>
            </a:r>
            <a:r>
              <a:rPr lang="en-US" sz="1800" spc="-114" dirty="0">
                <a:latin typeface="Santander Headline" panose="020B0504020201020104" pitchFamily="34" charset="0"/>
                <a:cs typeface="Calibri"/>
              </a:rPr>
              <a:t> </a:t>
            </a:r>
            <a:r>
              <a:rPr lang="en-US" sz="1800" spc="-10" dirty="0">
                <a:latin typeface="Santander Headline" panose="020B0504020201020104" pitchFamily="34" charset="0"/>
                <a:cs typeface="Calibri"/>
              </a:rPr>
              <a:t>toward</a:t>
            </a:r>
            <a:r>
              <a:rPr lang="en-US" sz="1800" spc="-105" dirty="0">
                <a:latin typeface="Santander Headline" panose="020B0504020201020104" pitchFamily="34" charset="0"/>
                <a:cs typeface="Calibri"/>
              </a:rPr>
              <a:t> </a:t>
            </a:r>
            <a:r>
              <a:rPr lang="en-US" sz="1800" spc="35" dirty="0">
                <a:latin typeface="Santander Headline" panose="020B0504020201020104" pitchFamily="34" charset="0"/>
                <a:cs typeface="Calibri"/>
              </a:rPr>
              <a:t>a</a:t>
            </a:r>
            <a:r>
              <a:rPr lang="en-US" sz="1800" spc="-5" dirty="0">
                <a:latin typeface="Santander Headline" panose="020B0504020201020104" pitchFamily="34" charset="0"/>
                <a:cs typeface="Calibri"/>
              </a:rPr>
              <a:t> </a:t>
            </a:r>
            <a:r>
              <a:rPr lang="en-US" sz="1800" spc="20" dirty="0">
                <a:latin typeface="Santander Headline" panose="020B0504020201020104" pitchFamily="34" charset="0"/>
                <a:cs typeface="Calibri"/>
              </a:rPr>
              <a:t>specific</a:t>
            </a:r>
            <a:r>
              <a:rPr lang="en-US" sz="1800" spc="-90" dirty="0">
                <a:latin typeface="Santander Headline" panose="020B0504020201020104" pitchFamily="34" charset="0"/>
                <a:cs typeface="Calibri"/>
              </a:rPr>
              <a:t> </a:t>
            </a:r>
            <a:r>
              <a:rPr lang="en-US" sz="1800" spc="5" dirty="0">
                <a:latin typeface="Santander Headline" panose="020B0504020201020104" pitchFamily="34" charset="0"/>
                <a:cs typeface="Calibri"/>
              </a:rPr>
              <a:t>individual,</a:t>
            </a:r>
            <a:r>
              <a:rPr lang="en-US" sz="1800" spc="-114" dirty="0">
                <a:latin typeface="Santander Headline" panose="020B0504020201020104" pitchFamily="34" charset="0"/>
                <a:cs typeface="Calibri"/>
              </a:rPr>
              <a:t> </a:t>
            </a:r>
            <a:r>
              <a:rPr lang="en-US" sz="1800" spc="5" dirty="0">
                <a:latin typeface="Santander Headline" panose="020B0504020201020104" pitchFamily="34" charset="0"/>
                <a:cs typeface="Calibri"/>
              </a:rPr>
              <a:t>organization,</a:t>
            </a:r>
            <a:r>
              <a:rPr lang="en-US" sz="1800" spc="-140" dirty="0">
                <a:latin typeface="Santander Headline" panose="020B0504020201020104" pitchFamily="34" charset="0"/>
                <a:cs typeface="Calibri"/>
              </a:rPr>
              <a:t> </a:t>
            </a:r>
            <a:r>
              <a:rPr lang="en-US" sz="1800" spc="15" dirty="0">
                <a:latin typeface="Santander Headline" panose="020B0504020201020104" pitchFamily="34" charset="0"/>
                <a:cs typeface="Calibri"/>
              </a:rPr>
              <a:t>or </a:t>
            </a:r>
            <a:r>
              <a:rPr lang="en-US" sz="1800" spc="10" dirty="0">
                <a:latin typeface="Santander Headline" panose="020B0504020201020104" pitchFamily="34" charset="0"/>
                <a:cs typeface="Calibri"/>
              </a:rPr>
              <a:t>business.</a:t>
            </a:r>
          </a:p>
          <a:p>
            <a:pPr marL="12700" marR="5080">
              <a:spcAft>
                <a:spcPts val="600"/>
              </a:spcAft>
            </a:pPr>
            <a:r>
              <a:rPr lang="en-US" sz="1800" b="1" spc="10" dirty="0">
                <a:latin typeface="Santander Headline" panose="020B0504020201020104" pitchFamily="34" charset="0"/>
                <a:cs typeface="Calibri"/>
              </a:rPr>
              <a:t>Smishing / Vishing: </a:t>
            </a:r>
            <a:r>
              <a:rPr lang="en-US" sz="1800" spc="10" dirty="0">
                <a:latin typeface="Santander Headline" panose="020B0504020201020104" pitchFamily="34" charset="0"/>
                <a:cs typeface="Calibri"/>
              </a:rPr>
              <a:t>A form of phishing SMS or Voice calls are </a:t>
            </a:r>
            <a:r>
              <a:rPr lang="en-US" spc="10" dirty="0">
                <a:latin typeface="Santander Headline" panose="020B0504020201020104" pitchFamily="34" charset="0"/>
                <a:cs typeface="Calibri"/>
              </a:rPr>
              <a:t>the channel used in the scheme.</a:t>
            </a:r>
          </a:p>
          <a:p>
            <a:pPr marL="12700" marR="5080">
              <a:spcAft>
                <a:spcPts val="600"/>
              </a:spcAft>
            </a:pPr>
            <a:r>
              <a:rPr lang="en-US" sz="1800" b="1" spc="10" dirty="0">
                <a:latin typeface="Santander Headline" panose="020B0504020201020104" pitchFamily="34" charset="0"/>
                <a:cs typeface="Calibri"/>
              </a:rPr>
              <a:t>Imposter Scams: </a:t>
            </a:r>
            <a:r>
              <a:rPr lang="en-US" sz="1800" spc="10" dirty="0">
                <a:latin typeface="Santander Headline" panose="020B0504020201020104" pitchFamily="34" charset="0"/>
                <a:cs typeface="Calibri"/>
              </a:rPr>
              <a:t>An account owner/signer will be contacted by a fraudster impersonating a known party, including a bank employee or trusted individual at another organization, and trick the customer into authorizing fraudulent activity. </a:t>
            </a:r>
          </a:p>
          <a:p>
            <a:pPr marL="298450" marR="5080" indent="-285750">
              <a:spcAft>
                <a:spcPts val="600"/>
              </a:spcAft>
              <a:buFont typeface="Wingdings" panose="05000000000000000000" pitchFamily="2" charset="2"/>
              <a:buChar char="§"/>
            </a:pPr>
            <a:r>
              <a:rPr lang="en-US" sz="1800" spc="15" dirty="0">
                <a:latin typeface="Santander Headline" panose="020B0504020201020104" pitchFamily="34" charset="0"/>
                <a:ea typeface="Open Sans" panose="020B0606030504020204" pitchFamily="34" charset="0"/>
                <a:cs typeface="Open Sans" panose="020B0606030504020204" pitchFamily="34" charset="0"/>
              </a:rPr>
              <a:t>Average </a:t>
            </a:r>
            <a:r>
              <a:rPr lang="en-US" sz="1800" spc="5" dirty="0">
                <a:latin typeface="Santander Headline" panose="020B0504020201020104" pitchFamily="34" charset="0"/>
                <a:ea typeface="Open Sans" panose="020B0606030504020204" pitchFamily="34" charset="0"/>
                <a:cs typeface="Open Sans" panose="020B0606030504020204" pitchFamily="34" charset="0"/>
              </a:rPr>
              <a:t>cost for an organization to recover from </a:t>
            </a:r>
            <a:r>
              <a:rPr lang="en-US" sz="1800" dirty="0">
                <a:latin typeface="Santander Headline" panose="020B0504020201020104" pitchFamily="34" charset="0"/>
                <a:ea typeface="Open Sans" panose="020B0606030504020204" pitchFamily="34" charset="0"/>
                <a:cs typeface="Open Sans" panose="020B0606030504020204" pitchFamily="34" charset="0"/>
              </a:rPr>
              <a:t>a </a:t>
            </a:r>
            <a:r>
              <a:rPr lang="en-US" sz="1800" spc="15" dirty="0">
                <a:latin typeface="Santander Headline" panose="020B0504020201020104" pitchFamily="34" charset="0"/>
                <a:ea typeface="Open Sans" panose="020B0606030504020204" pitchFamily="34" charset="0"/>
                <a:cs typeface="Open Sans" panose="020B0606030504020204" pitchFamily="34" charset="0"/>
              </a:rPr>
              <a:t>successful phishing </a:t>
            </a:r>
            <a:r>
              <a:rPr lang="en-US" sz="1800" spc="5" dirty="0">
                <a:latin typeface="Santander Headline" panose="020B0504020201020104" pitchFamily="34" charset="0"/>
                <a:ea typeface="Open Sans" panose="020B0606030504020204" pitchFamily="34" charset="0"/>
                <a:cs typeface="Open Sans" panose="020B0606030504020204" pitchFamily="34" charset="0"/>
              </a:rPr>
              <a:t>attack</a:t>
            </a:r>
            <a:r>
              <a:rPr lang="en-US" sz="1800" spc="65" dirty="0">
                <a:latin typeface="Santander Headline" panose="020B0504020201020104" pitchFamily="34" charset="0"/>
                <a:ea typeface="Open Sans" panose="020B0606030504020204" pitchFamily="34" charset="0"/>
                <a:cs typeface="Open Sans" panose="020B0606030504020204" pitchFamily="34" charset="0"/>
              </a:rPr>
              <a:t> </a:t>
            </a:r>
            <a:r>
              <a:rPr lang="en-US" sz="1800" spc="20" dirty="0">
                <a:latin typeface="Santander Headline" panose="020B0504020201020104" pitchFamily="34" charset="0"/>
                <a:ea typeface="Open Sans" panose="020B0606030504020204" pitchFamily="34" charset="0"/>
                <a:cs typeface="Open Sans" panose="020B0606030504020204" pitchFamily="34" charset="0"/>
              </a:rPr>
              <a:t>is </a:t>
            </a:r>
            <a:r>
              <a:rPr lang="en-US" sz="1800" spc="10" dirty="0">
                <a:latin typeface="Santander Headline" panose="020B0504020201020104" pitchFamily="34" charset="0"/>
                <a:ea typeface="Open Sans" panose="020B0606030504020204" pitchFamily="34" charset="0"/>
                <a:cs typeface="Open Sans" panose="020B0606030504020204" pitchFamily="34" charset="0"/>
              </a:rPr>
              <a:t>$1.6</a:t>
            </a:r>
            <a:r>
              <a:rPr lang="en-US" sz="1800" spc="30" dirty="0">
                <a:latin typeface="Santander Headline" panose="020B0504020201020104" pitchFamily="34" charset="0"/>
                <a:ea typeface="Open Sans" panose="020B0606030504020204" pitchFamily="34" charset="0"/>
                <a:cs typeface="Open Sans" panose="020B0606030504020204" pitchFamily="34" charset="0"/>
              </a:rPr>
              <a:t> </a:t>
            </a:r>
            <a:r>
              <a:rPr lang="en-US" sz="1800" spc="15" dirty="0">
                <a:latin typeface="Santander Headline" panose="020B0504020201020104" pitchFamily="34" charset="0"/>
                <a:ea typeface="Open Sans" panose="020B0606030504020204" pitchFamily="34" charset="0"/>
                <a:cs typeface="Open Sans" panose="020B0606030504020204" pitchFamily="34" charset="0"/>
              </a:rPr>
              <a:t>million</a:t>
            </a:r>
            <a:r>
              <a:rPr lang="en-US" sz="1800" spc="22" baseline="24691" dirty="0">
                <a:latin typeface="Santander Headline" panose="020B0504020201020104" pitchFamily="34" charset="0"/>
                <a:ea typeface="Open Sans" panose="020B0606030504020204" pitchFamily="34" charset="0"/>
                <a:cs typeface="Open Sans" panose="020B0606030504020204" pitchFamily="34" charset="0"/>
              </a:rPr>
              <a:t> 4</a:t>
            </a:r>
            <a:r>
              <a:rPr lang="en-US" sz="1800" spc="15" dirty="0">
                <a:latin typeface="Santander Headline" panose="020B0504020201020104" pitchFamily="34" charset="0"/>
                <a:ea typeface="Open Sans" panose="020B0606030504020204" pitchFamily="34" charset="0"/>
                <a:cs typeface="Open Sans" panose="020B0606030504020204" pitchFamily="34" charset="0"/>
              </a:rPr>
              <a:t>.</a:t>
            </a:r>
            <a:endParaRPr lang="en-US" sz="1600" baseline="24691" dirty="0">
              <a:latin typeface="Santander Headline" panose="020B0504020201020104" pitchFamily="34" charset="0"/>
              <a:ea typeface="Open Sans" panose="020B0606030504020204" pitchFamily="34" charset="0"/>
              <a:cs typeface="Open Sans" panose="020B0606030504020204" pitchFamily="34" charset="0"/>
            </a:endParaRPr>
          </a:p>
        </p:txBody>
      </p:sp>
      <p:sp>
        <p:nvSpPr>
          <p:cNvPr id="17" name="object 9">
            <a:extLst>
              <a:ext uri="{FF2B5EF4-FFF2-40B4-BE49-F238E27FC236}">
                <a16:creationId xmlns:a16="http://schemas.microsoft.com/office/drawing/2014/main" id="{3619835B-F81A-126A-A917-23B23A891373}"/>
              </a:ext>
            </a:extLst>
          </p:cNvPr>
          <p:cNvSpPr/>
          <p:nvPr/>
        </p:nvSpPr>
        <p:spPr>
          <a:xfrm>
            <a:off x="9726093" y="1226781"/>
            <a:ext cx="1999488" cy="1905000"/>
          </a:xfrm>
          <a:prstGeom prst="rect">
            <a:avLst/>
          </a:prstGeom>
          <a:blipFill>
            <a:blip r:embed="rId6" cstate="print"/>
            <a:stretch>
              <a:fillRect/>
            </a:stretch>
          </a:blipFill>
        </p:spPr>
        <p:txBody>
          <a:bodyPr wrap="square" lIns="0" tIns="0" rIns="0" bIns="0" rtlCol="0"/>
          <a:lstStyle/>
          <a:p>
            <a:endParaRPr/>
          </a:p>
        </p:txBody>
      </p:sp>
      <p:pic>
        <p:nvPicPr>
          <p:cNvPr id="18" name="Picture 17">
            <a:extLst>
              <a:ext uri="{FF2B5EF4-FFF2-40B4-BE49-F238E27FC236}">
                <a16:creationId xmlns:a16="http://schemas.microsoft.com/office/drawing/2014/main" id="{3351D871-2839-1CE5-A56A-797DBC86CC93}"/>
              </a:ext>
            </a:extLst>
          </p:cNvPr>
          <p:cNvPicPr>
            <a:picLocks noChangeAspect="1"/>
          </p:cNvPicPr>
          <p:nvPr/>
        </p:nvPicPr>
        <p:blipFill>
          <a:blip r:embed="rId7"/>
          <a:stretch>
            <a:fillRect/>
          </a:stretch>
        </p:blipFill>
        <p:spPr>
          <a:xfrm>
            <a:off x="9155150" y="6218309"/>
            <a:ext cx="3036849" cy="639691"/>
          </a:xfrm>
          <a:prstGeom prst="rect">
            <a:avLst/>
          </a:prstGeom>
        </p:spPr>
      </p:pic>
    </p:spTree>
    <p:extLst>
      <p:ext uri="{BB962C8B-B14F-4D97-AF65-F5344CB8AC3E}">
        <p14:creationId xmlns:p14="http://schemas.microsoft.com/office/powerpoint/2010/main" val="1215144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891DC7-9301-4E87-858D-1F90BBD28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6" progId="TCLayout.ActiveDocument.1">
                  <p:embed/>
                </p:oleObj>
              </mc:Choice>
              <mc:Fallback>
                <p:oleObj name="think-cell Slide" r:id="rId4" imgW="444" imgH="446" progId="TCLayout.ActiveDocument.1">
                  <p:embed/>
                  <p:pic>
                    <p:nvPicPr>
                      <p:cNvPr id="2" name="Object 1" hidden="1">
                        <a:extLst>
                          <a:ext uri="{FF2B5EF4-FFF2-40B4-BE49-F238E27FC236}">
                            <a16:creationId xmlns:a16="http://schemas.microsoft.com/office/drawing/2014/main" id="{EB891DC7-9301-4E87-858D-1F90BBD28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1">
            <a:extLst>
              <a:ext uri="{FF2B5EF4-FFF2-40B4-BE49-F238E27FC236}">
                <a16:creationId xmlns:a16="http://schemas.microsoft.com/office/drawing/2014/main" id="{C7319B48-55FB-4B61-80E3-67430667EDDD}"/>
              </a:ext>
            </a:extLst>
          </p:cNvPr>
          <p:cNvSpPr txBox="1">
            <a:spLocks/>
          </p:cNvSpPr>
          <p:nvPr/>
        </p:nvSpPr>
        <p:spPr>
          <a:xfrm>
            <a:off x="306084" y="322764"/>
            <a:ext cx="11233227" cy="491239"/>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Tx/>
              <a:buSzTx/>
              <a:buFontTx/>
              <a:buNone/>
              <a:tabLst/>
              <a:defRPr sz="2800" kern="1200">
                <a:solidFill>
                  <a:schemeClr val="tx2"/>
                </a:solidFill>
                <a:latin typeface="+mj-lt"/>
                <a:ea typeface="+mn-ea"/>
                <a:cs typeface="+mn-cs"/>
              </a:defRPr>
            </a:lvl1pPr>
            <a:lvl2pPr marL="457200" indent="0" algn="l" defTabSz="914400" rtl="0" eaLnBrk="1" latinLnBrk="0" hangingPunct="1">
              <a:lnSpc>
                <a:spcPct val="90000"/>
              </a:lnSpc>
              <a:spcBef>
                <a:spcPts val="500"/>
              </a:spcBef>
              <a:buFontTx/>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05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marR="0" lvl="0" indent="0" algn="l" defTabSz="914400" rtl="0" eaLnBrk="1" fontAlgn="auto" latinLnBrk="0" hangingPunct="1">
              <a:lnSpc>
                <a:spcPts val="2280"/>
              </a:lnSpc>
              <a:spcBef>
                <a:spcPts val="100"/>
              </a:spcBef>
              <a:spcAft>
                <a:spcPts val="0"/>
              </a:spcAft>
              <a:buClrTx/>
              <a:buSzTx/>
              <a:buFontTx/>
              <a:buNone/>
              <a:tabLst/>
              <a:defRPr/>
            </a:pPr>
            <a:r>
              <a:rPr kumimoji="0" lang="en-US" sz="2400" b="1"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rPr>
              <a:t>NESGFOA | Industry Fraud Trends and Analysis</a:t>
            </a:r>
            <a:endParaRPr kumimoji="0" lang="en-US" sz="2400" b="0"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endParaRPr>
          </a:p>
        </p:txBody>
      </p:sp>
      <p:sp>
        <p:nvSpPr>
          <p:cNvPr id="13" name="TextBox 12">
            <a:extLst>
              <a:ext uri="{FF2B5EF4-FFF2-40B4-BE49-F238E27FC236}">
                <a16:creationId xmlns:a16="http://schemas.microsoft.com/office/drawing/2014/main" id="{E542CF5D-D9CE-C8A2-0C82-6E95115FCD50}"/>
              </a:ext>
            </a:extLst>
          </p:cNvPr>
          <p:cNvSpPr txBox="1"/>
          <p:nvPr/>
        </p:nvSpPr>
        <p:spPr>
          <a:xfrm>
            <a:off x="2386361" y="6272778"/>
            <a:ext cx="4259766" cy="230832"/>
          </a:xfrm>
          <a:prstGeom prst="rect">
            <a:avLst/>
          </a:prstGeom>
          <a:noFill/>
        </p:spPr>
        <p:txBody>
          <a:bodyPr wrap="square" rtlCol="0">
            <a:spAutoFit/>
          </a:bodyPr>
          <a:lstStyle/>
          <a:p>
            <a:r>
              <a:rPr lang="en-US" sz="900" dirty="0">
                <a:latin typeface="Santander Headline" panose="020B0504020201020104" pitchFamily="34" charset="0"/>
              </a:rPr>
              <a:t>5 Federal Bureau of Investigation – Internet Crime Report 2023 </a:t>
            </a:r>
          </a:p>
        </p:txBody>
      </p:sp>
      <p:sp>
        <p:nvSpPr>
          <p:cNvPr id="14" name="Rectangle 13">
            <a:extLst>
              <a:ext uri="{FF2B5EF4-FFF2-40B4-BE49-F238E27FC236}">
                <a16:creationId xmlns:a16="http://schemas.microsoft.com/office/drawing/2014/main" id="{9D45F922-9163-59AF-2C37-9AD0B1C73BA1}"/>
              </a:ext>
            </a:extLst>
          </p:cNvPr>
          <p:cNvSpPr/>
          <p:nvPr/>
        </p:nvSpPr>
        <p:spPr>
          <a:xfrm>
            <a:off x="828908" y="2587084"/>
            <a:ext cx="5159298" cy="3311912"/>
          </a:xfrm>
          <a:prstGeom prst="rect">
            <a:avLst/>
          </a:prstGeom>
          <a:solidFill>
            <a:srgbClr val="DEEDF2"/>
          </a:solidFill>
        </p:spPr>
        <p:txBody>
          <a:bodyPr wrap="square">
            <a:noAutofit/>
          </a:bodyPr>
          <a:lstStyle/>
          <a:p>
            <a:pPr algn="ctr">
              <a:spcBef>
                <a:spcPts val="1005"/>
              </a:spcBef>
              <a:spcAft>
                <a:spcPts val="600"/>
              </a:spcAft>
            </a:pPr>
            <a:r>
              <a:rPr lang="en-US" b="1" dirty="0">
                <a:solidFill>
                  <a:srgbClr val="C00000"/>
                </a:solidFill>
                <a:latin typeface="Santander Headline" panose="020B0504020201020104" pitchFamily="34" charset="0"/>
                <a:ea typeface="Open Sans" panose="020B0606030504020204" pitchFamily="34" charset="0"/>
                <a:cs typeface="Open Sans" panose="020B0606030504020204" pitchFamily="34" charset="0"/>
              </a:rPr>
              <a:t>RANSOMWARE RED FLAGS</a:t>
            </a:r>
          </a:p>
          <a:p>
            <a:pPr marL="274320" indent="-274320">
              <a:lnSpc>
                <a:spcPct val="100000"/>
              </a:lnSpc>
              <a:spcBef>
                <a:spcPts val="1005"/>
              </a:spcBef>
              <a:buFont typeface="+mj-lt"/>
              <a:buAutoNum type="arabicPeriod"/>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You receive an email from authorities including the IRS or Law Enforcement that includes a document citing you for a violation.</a:t>
            </a:r>
          </a:p>
          <a:p>
            <a:pPr marL="274320" indent="-274320">
              <a:lnSpc>
                <a:spcPct val="100000"/>
              </a:lnSpc>
              <a:spcBef>
                <a:spcPts val="1005"/>
              </a:spcBef>
              <a:buFont typeface="+mj-lt"/>
              <a:buAutoNum type="arabicPeriod"/>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Once you open the attachment, which may be a .doc or .pdf file, a hidden .exe file is activated.</a:t>
            </a:r>
          </a:p>
          <a:p>
            <a:pPr marL="274320" marR="370840" indent="-274320">
              <a:lnSpc>
                <a:spcPct val="100000"/>
              </a:lnSpc>
              <a:spcBef>
                <a:spcPts val="1005"/>
              </a:spcBef>
              <a:buFont typeface="+mj-lt"/>
              <a:buAutoNum type="arabicPeriod"/>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A warning pops up indicating that you’ve been  infected, and your data will be destroyed unless you pay a ransom.</a:t>
            </a:r>
          </a:p>
        </p:txBody>
      </p:sp>
      <p:sp>
        <p:nvSpPr>
          <p:cNvPr id="16" name="object 4">
            <a:extLst>
              <a:ext uri="{FF2B5EF4-FFF2-40B4-BE49-F238E27FC236}">
                <a16:creationId xmlns:a16="http://schemas.microsoft.com/office/drawing/2014/main" id="{2787391A-E2A7-FCCB-FE4A-3CB4C4A26C43}"/>
              </a:ext>
            </a:extLst>
          </p:cNvPr>
          <p:cNvSpPr txBox="1"/>
          <p:nvPr/>
        </p:nvSpPr>
        <p:spPr>
          <a:xfrm>
            <a:off x="429804" y="873103"/>
            <a:ext cx="11455685" cy="1454244"/>
          </a:xfrm>
          <a:prstGeom prst="rect">
            <a:avLst/>
          </a:prstGeom>
        </p:spPr>
        <p:txBody>
          <a:bodyPr vert="horz" wrap="square" lIns="0" tIns="12700" rIns="0" bIns="0" rtlCol="0">
            <a:spAutoFit/>
          </a:bodyPr>
          <a:lstStyle/>
          <a:p>
            <a:pPr marL="25400">
              <a:lnSpc>
                <a:spcPct val="100000"/>
              </a:lnSpc>
              <a:spcBef>
                <a:spcPts val="95"/>
              </a:spcBef>
            </a:pPr>
            <a:r>
              <a:rPr lang="en-US" sz="1800" b="1" spc="-5" dirty="0">
                <a:latin typeface="Santander Headline" panose="020B0504020201020104" pitchFamily="34" charset="0"/>
                <a:cs typeface="Segoe UI"/>
              </a:rPr>
              <a:t>Cyber Fraud Attack:</a:t>
            </a:r>
            <a:r>
              <a:rPr lang="en-US" sz="1800" b="1" spc="-40" dirty="0">
                <a:latin typeface="Santander Headline" panose="020B0504020201020104" pitchFamily="34" charset="0"/>
                <a:cs typeface="Segoe UI"/>
              </a:rPr>
              <a:t> </a:t>
            </a:r>
            <a:r>
              <a:rPr lang="en-US" sz="1800" spc="-15" dirty="0">
                <a:latin typeface="Santander Headline" panose="020B0504020201020104" pitchFamily="34" charset="0"/>
                <a:cs typeface="Segoe UI"/>
              </a:rPr>
              <a:t>An</a:t>
            </a:r>
            <a:r>
              <a:rPr lang="en-US" sz="1800" spc="-25" dirty="0">
                <a:latin typeface="Santander Headline" panose="020B0504020201020104" pitchFamily="34" charset="0"/>
                <a:cs typeface="Segoe UI"/>
              </a:rPr>
              <a:t> </a:t>
            </a:r>
            <a:r>
              <a:rPr lang="en-US" sz="1800" spc="-5" dirty="0">
                <a:latin typeface="Santander Headline" panose="020B0504020201020104" pitchFamily="34" charset="0"/>
                <a:cs typeface="Segoe UI"/>
              </a:rPr>
              <a:t>attempt</a:t>
            </a:r>
            <a:r>
              <a:rPr lang="en-US" sz="1800" spc="-70" dirty="0">
                <a:latin typeface="Santander Headline" panose="020B0504020201020104" pitchFamily="34" charset="0"/>
                <a:cs typeface="Segoe UI"/>
              </a:rPr>
              <a:t> </a:t>
            </a:r>
            <a:r>
              <a:rPr lang="en-US" sz="1800" spc="-5" dirty="0">
                <a:latin typeface="Santander Headline" panose="020B0504020201020104" pitchFamily="34" charset="0"/>
                <a:cs typeface="Segoe UI"/>
              </a:rPr>
              <a:t>by</a:t>
            </a:r>
            <a:r>
              <a:rPr lang="en-US" sz="1800" spc="-30" dirty="0">
                <a:latin typeface="Santander Headline" panose="020B0504020201020104" pitchFamily="34" charset="0"/>
                <a:cs typeface="Segoe UI"/>
              </a:rPr>
              <a:t> </a:t>
            </a:r>
            <a:r>
              <a:rPr lang="en-US" sz="1800" spc="-10" dirty="0">
                <a:latin typeface="Santander Headline" panose="020B0504020201020104" pitchFamily="34" charset="0"/>
                <a:cs typeface="Segoe UI"/>
              </a:rPr>
              <a:t>hackers</a:t>
            </a:r>
            <a:r>
              <a:rPr lang="en-US" sz="1800" spc="-45" dirty="0">
                <a:latin typeface="Santander Headline" panose="020B0504020201020104" pitchFamily="34" charset="0"/>
                <a:cs typeface="Segoe UI"/>
              </a:rPr>
              <a:t> </a:t>
            </a:r>
            <a:r>
              <a:rPr lang="en-US" sz="1800" spc="-5" dirty="0">
                <a:latin typeface="Santander Headline" panose="020B0504020201020104" pitchFamily="34" charset="0"/>
                <a:cs typeface="Segoe UI"/>
              </a:rPr>
              <a:t>to</a:t>
            </a:r>
            <a:r>
              <a:rPr lang="en-US" sz="1800" spc="-50" dirty="0">
                <a:latin typeface="Santander Headline" panose="020B0504020201020104" pitchFamily="34" charset="0"/>
                <a:cs typeface="Segoe UI"/>
              </a:rPr>
              <a:t> </a:t>
            </a:r>
            <a:r>
              <a:rPr lang="en-US" sz="1800" spc="-10" dirty="0">
                <a:latin typeface="Santander Headline" panose="020B0504020201020104" pitchFamily="34" charset="0"/>
                <a:cs typeface="Segoe UI"/>
              </a:rPr>
              <a:t>damage</a:t>
            </a:r>
            <a:r>
              <a:rPr lang="en-US" sz="1800" spc="-60" dirty="0">
                <a:latin typeface="Santander Headline" panose="020B0504020201020104" pitchFamily="34" charset="0"/>
                <a:cs typeface="Segoe UI"/>
              </a:rPr>
              <a:t> </a:t>
            </a:r>
            <a:r>
              <a:rPr lang="en-US" sz="1800" spc="-5" dirty="0">
                <a:latin typeface="Santander Headline" panose="020B0504020201020104" pitchFamily="34" charset="0"/>
                <a:cs typeface="Segoe UI"/>
              </a:rPr>
              <a:t>or </a:t>
            </a:r>
            <a:r>
              <a:rPr lang="en-US" sz="1800" spc="-10" dirty="0">
                <a:latin typeface="Santander Headline" panose="020B0504020201020104" pitchFamily="34" charset="0"/>
                <a:cs typeface="Segoe UI"/>
              </a:rPr>
              <a:t>destroy</a:t>
            </a:r>
            <a:r>
              <a:rPr lang="en-US" sz="1800" spc="-30" dirty="0">
                <a:latin typeface="Santander Headline" panose="020B0504020201020104" pitchFamily="34" charset="0"/>
                <a:cs typeface="Segoe UI"/>
              </a:rPr>
              <a:t> </a:t>
            </a:r>
            <a:r>
              <a:rPr lang="en-US" sz="1800" spc="-5" dirty="0">
                <a:latin typeface="Santander Headline" panose="020B0504020201020104" pitchFamily="34" charset="0"/>
                <a:cs typeface="Segoe UI"/>
              </a:rPr>
              <a:t>a</a:t>
            </a:r>
            <a:r>
              <a:rPr lang="en-US" sz="1800" spc="-20" dirty="0">
                <a:latin typeface="Santander Headline" panose="020B0504020201020104" pitchFamily="34" charset="0"/>
                <a:cs typeface="Segoe UI"/>
              </a:rPr>
              <a:t> </a:t>
            </a:r>
            <a:r>
              <a:rPr lang="en-US" sz="1800" spc="-5" dirty="0">
                <a:latin typeface="Santander Headline" panose="020B0504020201020104" pitchFamily="34" charset="0"/>
                <a:cs typeface="Segoe UI"/>
              </a:rPr>
              <a:t>computer</a:t>
            </a:r>
            <a:r>
              <a:rPr lang="en-US" sz="1800" spc="-80" dirty="0">
                <a:latin typeface="Santander Headline" panose="020B0504020201020104" pitchFamily="34" charset="0"/>
                <a:cs typeface="Segoe UI"/>
              </a:rPr>
              <a:t> </a:t>
            </a:r>
            <a:r>
              <a:rPr lang="en-US" sz="1800" spc="-5" dirty="0">
                <a:latin typeface="Santander Headline" panose="020B0504020201020104" pitchFamily="34" charset="0"/>
                <a:cs typeface="Segoe UI"/>
              </a:rPr>
              <a:t>network</a:t>
            </a:r>
            <a:r>
              <a:rPr lang="en-US" sz="1800" spc="-40" dirty="0">
                <a:latin typeface="Santander Headline" panose="020B0504020201020104" pitchFamily="34" charset="0"/>
                <a:cs typeface="Segoe UI"/>
              </a:rPr>
              <a:t> </a:t>
            </a:r>
            <a:r>
              <a:rPr lang="en-US" sz="1800" spc="-5" dirty="0">
                <a:latin typeface="Santander Headline" panose="020B0504020201020104" pitchFamily="34" charset="0"/>
                <a:cs typeface="Segoe UI"/>
              </a:rPr>
              <a:t>or</a:t>
            </a:r>
            <a:r>
              <a:rPr lang="en-US" sz="1800" spc="-10" dirty="0">
                <a:latin typeface="Santander Headline" panose="020B0504020201020104" pitchFamily="34" charset="0"/>
                <a:cs typeface="Segoe UI"/>
              </a:rPr>
              <a:t> </a:t>
            </a:r>
            <a:r>
              <a:rPr lang="en-US" sz="1800" spc="-5" dirty="0">
                <a:latin typeface="Santander Headline" panose="020B0504020201020104" pitchFamily="34" charset="0"/>
                <a:cs typeface="Segoe UI"/>
              </a:rPr>
              <a:t>system.</a:t>
            </a:r>
            <a:endParaRPr lang="en-US" sz="1800" dirty="0">
              <a:latin typeface="Santander Headline" panose="020B0504020201020104" pitchFamily="34" charset="0"/>
              <a:cs typeface="Segoe UI"/>
            </a:endParaRPr>
          </a:p>
          <a:p>
            <a:pPr marL="25400">
              <a:lnSpc>
                <a:spcPct val="100000"/>
              </a:lnSpc>
              <a:spcBef>
                <a:spcPts val="1320"/>
              </a:spcBef>
            </a:pPr>
            <a:r>
              <a:rPr lang="en-US" sz="1800" b="1" spc="-10" dirty="0">
                <a:latin typeface="Santander Headline" panose="020B0504020201020104" pitchFamily="34" charset="0"/>
                <a:cs typeface="Segoe UI"/>
              </a:rPr>
              <a:t>Ransomware:</a:t>
            </a:r>
            <a:r>
              <a:rPr lang="en-US" sz="1800" b="1" spc="-35" dirty="0">
                <a:latin typeface="Santander Headline" panose="020B0504020201020104" pitchFamily="34" charset="0"/>
                <a:cs typeface="Segoe UI"/>
              </a:rPr>
              <a:t> </a:t>
            </a:r>
            <a:r>
              <a:rPr lang="en-US" sz="1800" spc="-10" dirty="0">
                <a:latin typeface="Santander Headline" panose="020B0504020201020104" pitchFamily="34" charset="0"/>
                <a:cs typeface="Segoe UI"/>
              </a:rPr>
              <a:t>A</a:t>
            </a:r>
            <a:r>
              <a:rPr lang="en-US" sz="1800" spc="-25" dirty="0">
                <a:latin typeface="Santander Headline" panose="020B0504020201020104" pitchFamily="34" charset="0"/>
                <a:cs typeface="Segoe UI"/>
              </a:rPr>
              <a:t> </a:t>
            </a:r>
            <a:r>
              <a:rPr lang="en-US" sz="1800" spc="-5" dirty="0">
                <a:latin typeface="Santander Headline" panose="020B0504020201020104" pitchFamily="34" charset="0"/>
                <a:cs typeface="Segoe UI"/>
              </a:rPr>
              <a:t>cyberattack</a:t>
            </a:r>
            <a:r>
              <a:rPr lang="en-US" sz="1800" spc="-90" dirty="0">
                <a:latin typeface="Santander Headline" panose="020B0504020201020104" pitchFamily="34" charset="0"/>
                <a:cs typeface="Segoe UI"/>
              </a:rPr>
              <a:t> </a:t>
            </a:r>
            <a:r>
              <a:rPr lang="en-US" sz="1800" spc="-10" dirty="0">
                <a:latin typeface="Santander Headline" panose="020B0504020201020104" pitchFamily="34" charset="0"/>
                <a:cs typeface="Segoe UI"/>
              </a:rPr>
              <a:t>in</a:t>
            </a:r>
            <a:r>
              <a:rPr lang="en-US" sz="1800" spc="-15" dirty="0">
                <a:latin typeface="Santander Headline" panose="020B0504020201020104" pitchFamily="34" charset="0"/>
                <a:cs typeface="Segoe UI"/>
              </a:rPr>
              <a:t> </a:t>
            </a:r>
            <a:r>
              <a:rPr lang="en-US" sz="1800" spc="-10" dirty="0">
                <a:latin typeface="Santander Headline" panose="020B0504020201020104" pitchFamily="34" charset="0"/>
                <a:cs typeface="Segoe UI"/>
              </a:rPr>
              <a:t>which</a:t>
            </a:r>
            <a:r>
              <a:rPr lang="en-US" sz="1800" spc="-40" dirty="0">
                <a:latin typeface="Santander Headline" panose="020B0504020201020104" pitchFamily="34" charset="0"/>
                <a:cs typeface="Segoe UI"/>
              </a:rPr>
              <a:t> </a:t>
            </a:r>
            <a:r>
              <a:rPr lang="en-US" sz="1800" spc="-10" dirty="0">
                <a:latin typeface="Santander Headline" panose="020B0504020201020104" pitchFamily="34" charset="0"/>
                <a:cs typeface="Segoe UI"/>
              </a:rPr>
              <a:t>malicious</a:t>
            </a:r>
            <a:r>
              <a:rPr lang="en-US" sz="1800" spc="-80" dirty="0">
                <a:latin typeface="Santander Headline" panose="020B0504020201020104" pitchFamily="34" charset="0"/>
                <a:cs typeface="Segoe UI"/>
              </a:rPr>
              <a:t> </a:t>
            </a:r>
            <a:r>
              <a:rPr lang="en-US" sz="1800" spc="-10" dirty="0">
                <a:latin typeface="Santander Headline" panose="020B0504020201020104" pitchFamily="34" charset="0"/>
                <a:cs typeface="Segoe UI"/>
              </a:rPr>
              <a:t>software</a:t>
            </a:r>
            <a:r>
              <a:rPr lang="en-US" sz="1800" spc="-55" dirty="0">
                <a:latin typeface="Santander Headline" panose="020B0504020201020104" pitchFamily="34" charset="0"/>
                <a:cs typeface="Segoe UI"/>
              </a:rPr>
              <a:t> </a:t>
            </a:r>
            <a:r>
              <a:rPr lang="en-US" sz="1800" spc="-10" dirty="0">
                <a:latin typeface="Santander Headline" panose="020B0504020201020104" pitchFamily="34" charset="0"/>
                <a:cs typeface="Segoe UI"/>
              </a:rPr>
              <a:t>is </a:t>
            </a:r>
            <a:r>
              <a:rPr lang="en-US" sz="1800" spc="-5" dirty="0">
                <a:latin typeface="Santander Headline" panose="020B0504020201020104" pitchFamily="34" charset="0"/>
                <a:cs typeface="Segoe UI"/>
              </a:rPr>
              <a:t>used</a:t>
            </a:r>
            <a:r>
              <a:rPr lang="en-US" sz="1800" spc="-20" dirty="0">
                <a:latin typeface="Santander Headline" panose="020B0504020201020104" pitchFamily="34" charset="0"/>
                <a:cs typeface="Segoe UI"/>
              </a:rPr>
              <a:t> </a:t>
            </a:r>
            <a:r>
              <a:rPr lang="en-US" sz="1800" spc="-5" dirty="0">
                <a:latin typeface="Santander Headline" panose="020B0504020201020104" pitchFamily="34" charset="0"/>
                <a:cs typeface="Segoe UI"/>
              </a:rPr>
              <a:t>to</a:t>
            </a:r>
            <a:r>
              <a:rPr lang="en-US" sz="1800" spc="-45" dirty="0">
                <a:latin typeface="Santander Headline" panose="020B0504020201020104" pitchFamily="34" charset="0"/>
                <a:cs typeface="Segoe UI"/>
              </a:rPr>
              <a:t> </a:t>
            </a:r>
            <a:r>
              <a:rPr lang="en-US" sz="1800" spc="-5" dirty="0">
                <a:latin typeface="Santander Headline" panose="020B0504020201020104" pitchFamily="34" charset="0"/>
                <a:cs typeface="Segoe UI"/>
              </a:rPr>
              <a:t>block</a:t>
            </a:r>
            <a:r>
              <a:rPr lang="en-US" sz="1800" spc="-10" dirty="0">
                <a:latin typeface="Santander Headline" panose="020B0504020201020104" pitchFamily="34" charset="0"/>
                <a:cs typeface="Segoe UI"/>
              </a:rPr>
              <a:t> </a:t>
            </a:r>
            <a:r>
              <a:rPr lang="en-US" sz="1800" spc="-5" dirty="0">
                <a:latin typeface="Santander Headline" panose="020B0504020201020104" pitchFamily="34" charset="0"/>
                <a:cs typeface="Segoe UI"/>
              </a:rPr>
              <a:t>a </a:t>
            </a:r>
            <a:r>
              <a:rPr lang="en-US" sz="1800" spc="-15" dirty="0">
                <a:latin typeface="Santander Headline" panose="020B0504020201020104" pitchFamily="34" charset="0"/>
                <a:cs typeface="Segoe UI"/>
              </a:rPr>
              <a:t>business’s</a:t>
            </a:r>
            <a:r>
              <a:rPr lang="en-US" sz="1800" spc="-60" dirty="0">
                <a:latin typeface="Santander Headline" panose="020B0504020201020104" pitchFamily="34" charset="0"/>
                <a:cs typeface="Segoe UI"/>
              </a:rPr>
              <a:t> </a:t>
            </a:r>
            <a:r>
              <a:rPr lang="en-US" sz="1800" spc="-5" dirty="0">
                <a:latin typeface="Santander Headline" panose="020B0504020201020104" pitchFamily="34" charset="0"/>
                <a:cs typeface="Segoe UI"/>
              </a:rPr>
              <a:t>network</a:t>
            </a:r>
            <a:r>
              <a:rPr lang="en-US" sz="1800" spc="-35" dirty="0">
                <a:latin typeface="Santander Headline" panose="020B0504020201020104" pitchFamily="34" charset="0"/>
                <a:cs typeface="Segoe UI"/>
              </a:rPr>
              <a:t> </a:t>
            </a:r>
            <a:r>
              <a:rPr lang="en-US" sz="1800" spc="-5" dirty="0">
                <a:latin typeface="Santander Headline" panose="020B0504020201020104" pitchFamily="34" charset="0"/>
                <a:cs typeface="Segoe UI"/>
              </a:rPr>
              <a:t>until</a:t>
            </a:r>
            <a:r>
              <a:rPr lang="en-US" sz="1800" spc="-70" dirty="0">
                <a:latin typeface="Santander Headline" panose="020B0504020201020104" pitchFamily="34" charset="0"/>
                <a:cs typeface="Segoe UI"/>
              </a:rPr>
              <a:t> </a:t>
            </a:r>
            <a:r>
              <a:rPr lang="en-US" sz="1800" spc="-5" dirty="0">
                <a:latin typeface="Santander Headline" panose="020B0504020201020104" pitchFamily="34" charset="0"/>
                <a:cs typeface="Segoe UI"/>
              </a:rPr>
              <a:t>a ransom is</a:t>
            </a:r>
            <a:r>
              <a:rPr lang="en-US" sz="1800" spc="-95" dirty="0">
                <a:latin typeface="Santander Headline" panose="020B0504020201020104" pitchFamily="34" charset="0"/>
                <a:cs typeface="Segoe UI"/>
              </a:rPr>
              <a:t> </a:t>
            </a:r>
            <a:r>
              <a:rPr lang="en-US" sz="1800" spc="-15" dirty="0">
                <a:latin typeface="Santander Headline" panose="020B0504020201020104" pitchFamily="34" charset="0"/>
                <a:cs typeface="Segoe UI"/>
              </a:rPr>
              <a:t>paid.</a:t>
            </a:r>
          </a:p>
          <a:p>
            <a:pPr marL="311150" indent="-285750">
              <a:spcBef>
                <a:spcPts val="1320"/>
              </a:spcBef>
              <a:buFont typeface="Wingdings" panose="05000000000000000000" pitchFamily="2" charset="2"/>
              <a:buChar char="§"/>
            </a:pPr>
            <a:r>
              <a:rPr lang="en-US" spc="15" dirty="0">
                <a:latin typeface="Santander Headline" panose="020B0504020201020104" pitchFamily="34" charset="0"/>
                <a:ea typeface="Open Sans" panose="020B0606030504020204" pitchFamily="34" charset="0"/>
                <a:cs typeface="Open Sans" panose="020B0606030504020204" pitchFamily="34" charset="0"/>
              </a:rPr>
              <a:t>60% of SMB owners believe their business is unlikely to be targeted by cyber criminals, yet 43% of cyber attacks target small businesses</a:t>
            </a:r>
            <a:r>
              <a:rPr lang="en-US" spc="22" baseline="24691" dirty="0">
                <a:latin typeface="Santander Headline" panose="020B0504020201020104" pitchFamily="34" charset="0"/>
                <a:ea typeface="Open Sans" panose="020B0606030504020204" pitchFamily="34" charset="0"/>
                <a:cs typeface="Open Sans" panose="020B0606030504020204" pitchFamily="34" charset="0"/>
              </a:rPr>
              <a:t>5</a:t>
            </a:r>
            <a:r>
              <a:rPr lang="en-US" spc="15" dirty="0">
                <a:latin typeface="Santander Headline" panose="020B0504020201020104" pitchFamily="34" charset="0"/>
                <a:ea typeface="Open Sans" panose="020B0606030504020204" pitchFamily="34" charset="0"/>
                <a:cs typeface="Open Sans" panose="020B0606030504020204" pitchFamily="34" charset="0"/>
              </a:rPr>
              <a:t>. </a:t>
            </a:r>
          </a:p>
        </p:txBody>
      </p:sp>
      <p:sp>
        <p:nvSpPr>
          <p:cNvPr id="3" name="Rectangle 2">
            <a:extLst>
              <a:ext uri="{FF2B5EF4-FFF2-40B4-BE49-F238E27FC236}">
                <a16:creationId xmlns:a16="http://schemas.microsoft.com/office/drawing/2014/main" id="{9ABBFA82-7E6B-7F1B-1829-AD27D447D873}"/>
              </a:ext>
            </a:extLst>
          </p:cNvPr>
          <p:cNvSpPr/>
          <p:nvPr/>
        </p:nvSpPr>
        <p:spPr>
          <a:xfrm>
            <a:off x="6266986" y="2598234"/>
            <a:ext cx="5208733" cy="3289609"/>
          </a:xfrm>
          <a:prstGeom prst="rect">
            <a:avLst/>
          </a:prstGeom>
          <a:solidFill>
            <a:srgbClr val="DEEDF2"/>
          </a:solidFill>
        </p:spPr>
        <p:txBody>
          <a:bodyPr wrap="square">
            <a:noAutofit/>
          </a:bodyPr>
          <a:lstStyle/>
          <a:p>
            <a:pPr algn="ctr">
              <a:spcBef>
                <a:spcPts val="1005"/>
              </a:spcBef>
              <a:spcAft>
                <a:spcPts val="600"/>
              </a:spcAft>
            </a:pPr>
            <a:r>
              <a:rPr lang="en-US" b="1" dirty="0">
                <a:solidFill>
                  <a:srgbClr val="C00000"/>
                </a:solidFill>
                <a:latin typeface="Santander Headline" panose="020B0504020201020104" pitchFamily="34" charset="0"/>
                <a:ea typeface="Open Sans" panose="020B0606030504020204" pitchFamily="34" charset="0"/>
                <a:cs typeface="Open Sans" panose="020B0606030504020204" pitchFamily="34" charset="0"/>
              </a:rPr>
              <a:t>TIPS TO HELP PREVENT CYBERATTACKS</a:t>
            </a:r>
          </a:p>
          <a:p>
            <a:pPr marL="274320" indent="-274320">
              <a:lnSpc>
                <a:spcPct val="100000"/>
              </a:lnSpc>
              <a:spcBef>
                <a:spcPts val="1005"/>
              </a:spcBef>
              <a:buFont typeface="+mj-lt"/>
              <a:buAutoNum type="arabicPeriod"/>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Do not click on suspicious links received in Emails and SMS messages.</a:t>
            </a:r>
          </a:p>
          <a:p>
            <a:pPr marL="274320" indent="-274320">
              <a:lnSpc>
                <a:spcPct val="100000"/>
              </a:lnSpc>
              <a:spcBef>
                <a:spcPts val="1005"/>
              </a:spcBef>
              <a:buFont typeface="+mj-lt"/>
              <a:buAutoNum type="arabicPeriod"/>
              <a:tabLst>
                <a:tab pos="267970" algn="l"/>
              </a:tabLst>
            </a:pPr>
            <a:r>
              <a:rPr lang="en-US" b="1" dirty="0">
                <a:latin typeface="Santander Headline" panose="020B0504020201020104" pitchFamily="34" charset="0"/>
                <a:ea typeface="Open Sans" panose="020B0606030504020204" pitchFamily="34" charset="0"/>
                <a:cs typeface="Open Sans" panose="020B0606030504020204" pitchFamily="34" charset="0"/>
              </a:rPr>
              <a:t>Set up two-factor (or multi-factor) authentication on any account that allows it, and never disable it.</a:t>
            </a:r>
          </a:p>
          <a:p>
            <a:pPr marL="274320" indent="-274320">
              <a:lnSpc>
                <a:spcPct val="100000"/>
              </a:lnSpc>
              <a:spcBef>
                <a:spcPts val="1005"/>
              </a:spcBef>
              <a:buFont typeface="+mj-lt"/>
              <a:buAutoNum type="arabicPeriod"/>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Install and regularly update antivirus software on every computer used in your business.</a:t>
            </a:r>
          </a:p>
          <a:p>
            <a:pPr marL="274320" indent="-274320">
              <a:lnSpc>
                <a:spcPct val="100000"/>
              </a:lnSpc>
              <a:spcBef>
                <a:spcPts val="1005"/>
              </a:spcBef>
              <a:buFont typeface="+mj-lt"/>
              <a:buAutoNum type="arabicPeriod"/>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Use a hidden (not accessible to the public)  and secure Wi-Fi network in your workplace.</a:t>
            </a:r>
          </a:p>
          <a:p>
            <a:pPr marL="274320" indent="-274320">
              <a:lnSpc>
                <a:spcPct val="100000"/>
              </a:lnSpc>
              <a:spcBef>
                <a:spcPts val="1005"/>
              </a:spcBef>
              <a:buFont typeface="+mj-lt"/>
              <a:buAutoNum type="arabicPeriod"/>
              <a:tabLst>
                <a:tab pos="267970" algn="l"/>
              </a:tabLst>
            </a:pPr>
            <a:endParaRPr lang="en-US" sz="1600" dirty="0">
              <a:latin typeface="Santander Headline" panose="020B05040202010201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C82BAC07-19FE-FC27-C47D-CFB6BEDCE4A5}"/>
              </a:ext>
            </a:extLst>
          </p:cNvPr>
          <p:cNvPicPr>
            <a:picLocks noChangeAspect="1"/>
          </p:cNvPicPr>
          <p:nvPr/>
        </p:nvPicPr>
        <p:blipFill>
          <a:blip r:embed="rId6"/>
          <a:stretch>
            <a:fillRect/>
          </a:stretch>
        </p:blipFill>
        <p:spPr>
          <a:xfrm>
            <a:off x="9155150" y="6218309"/>
            <a:ext cx="3036849" cy="639691"/>
          </a:xfrm>
          <a:prstGeom prst="rect">
            <a:avLst/>
          </a:prstGeom>
        </p:spPr>
      </p:pic>
    </p:spTree>
    <p:extLst>
      <p:ext uri="{BB962C8B-B14F-4D97-AF65-F5344CB8AC3E}">
        <p14:creationId xmlns:p14="http://schemas.microsoft.com/office/powerpoint/2010/main" val="1195078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891DC7-9301-4E87-858D-1F90BBD28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6" progId="TCLayout.ActiveDocument.1">
                  <p:embed/>
                </p:oleObj>
              </mc:Choice>
              <mc:Fallback>
                <p:oleObj name="think-cell Slide" r:id="rId4" imgW="444" imgH="446" progId="TCLayout.ActiveDocument.1">
                  <p:embed/>
                  <p:pic>
                    <p:nvPicPr>
                      <p:cNvPr id="2" name="Object 1" hidden="1">
                        <a:extLst>
                          <a:ext uri="{FF2B5EF4-FFF2-40B4-BE49-F238E27FC236}">
                            <a16:creationId xmlns:a16="http://schemas.microsoft.com/office/drawing/2014/main" id="{EB891DC7-9301-4E87-858D-1F90BBD28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1">
            <a:extLst>
              <a:ext uri="{FF2B5EF4-FFF2-40B4-BE49-F238E27FC236}">
                <a16:creationId xmlns:a16="http://schemas.microsoft.com/office/drawing/2014/main" id="{C7319B48-55FB-4B61-80E3-67430667EDDD}"/>
              </a:ext>
            </a:extLst>
          </p:cNvPr>
          <p:cNvSpPr txBox="1">
            <a:spLocks/>
          </p:cNvSpPr>
          <p:nvPr/>
        </p:nvSpPr>
        <p:spPr>
          <a:xfrm>
            <a:off x="306084" y="322764"/>
            <a:ext cx="11233227" cy="491239"/>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Tx/>
              <a:buSzTx/>
              <a:buFontTx/>
              <a:buNone/>
              <a:tabLst/>
              <a:defRPr sz="2800" kern="1200">
                <a:solidFill>
                  <a:schemeClr val="tx2"/>
                </a:solidFill>
                <a:latin typeface="+mj-lt"/>
                <a:ea typeface="+mn-ea"/>
                <a:cs typeface="+mn-cs"/>
              </a:defRPr>
            </a:lvl1pPr>
            <a:lvl2pPr marL="457200" indent="0" algn="l" defTabSz="914400" rtl="0" eaLnBrk="1" latinLnBrk="0" hangingPunct="1">
              <a:lnSpc>
                <a:spcPct val="90000"/>
              </a:lnSpc>
              <a:spcBef>
                <a:spcPts val="500"/>
              </a:spcBef>
              <a:buFontTx/>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05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marR="0" lvl="0" indent="0" algn="l" defTabSz="914400" rtl="0" eaLnBrk="1" fontAlgn="auto" latinLnBrk="0" hangingPunct="1">
              <a:lnSpc>
                <a:spcPts val="2280"/>
              </a:lnSpc>
              <a:spcBef>
                <a:spcPts val="100"/>
              </a:spcBef>
              <a:spcAft>
                <a:spcPts val="0"/>
              </a:spcAft>
              <a:buClrTx/>
              <a:buSzTx/>
              <a:buFontTx/>
              <a:buNone/>
              <a:tabLst/>
              <a:defRPr/>
            </a:pPr>
            <a:r>
              <a:rPr kumimoji="0" lang="en-US" sz="2400" b="1"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rPr>
              <a:t>NESGFOA | Industry Fraud Trends and Analysis</a:t>
            </a:r>
            <a:endParaRPr kumimoji="0" lang="en-US" sz="2400" b="0"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endParaRPr>
          </a:p>
        </p:txBody>
      </p:sp>
      <p:sp>
        <p:nvSpPr>
          <p:cNvPr id="13" name="TextBox 12">
            <a:extLst>
              <a:ext uri="{FF2B5EF4-FFF2-40B4-BE49-F238E27FC236}">
                <a16:creationId xmlns:a16="http://schemas.microsoft.com/office/drawing/2014/main" id="{E542CF5D-D9CE-C8A2-0C82-6E95115FCD50}"/>
              </a:ext>
            </a:extLst>
          </p:cNvPr>
          <p:cNvSpPr txBox="1"/>
          <p:nvPr/>
        </p:nvSpPr>
        <p:spPr>
          <a:xfrm>
            <a:off x="2386361" y="6272778"/>
            <a:ext cx="4259766" cy="369332"/>
          </a:xfrm>
          <a:prstGeom prst="rect">
            <a:avLst/>
          </a:prstGeom>
          <a:noFill/>
        </p:spPr>
        <p:txBody>
          <a:bodyPr wrap="square" rtlCol="0">
            <a:spAutoFit/>
          </a:bodyPr>
          <a:lstStyle/>
          <a:p>
            <a:r>
              <a:rPr lang="en-US" sz="900" dirty="0">
                <a:latin typeface="Santander Headline" panose="020B0504020201020104" pitchFamily="34" charset="0"/>
              </a:rPr>
              <a:t>6 </a:t>
            </a:r>
            <a:r>
              <a:rPr lang="en-US" sz="900" dirty="0" err="1">
                <a:latin typeface="Santander Headline" panose="020B0504020201020104" pitchFamily="34" charset="0"/>
              </a:rPr>
              <a:t>Verafin</a:t>
            </a:r>
            <a:r>
              <a:rPr lang="en-US" sz="900" dirty="0">
                <a:latin typeface="Santander Headline" panose="020B0504020201020104" pitchFamily="34" charset="0"/>
              </a:rPr>
              <a:t>: </a:t>
            </a:r>
            <a:r>
              <a:rPr lang="en-US" sz="900" b="1" i="0" dirty="0">
                <a:solidFill>
                  <a:srgbClr val="333333"/>
                </a:solidFill>
                <a:effectLst/>
                <a:latin typeface="Inter"/>
              </a:rPr>
              <a:t>Business Email Compromise: A Global Menace – March 2024</a:t>
            </a:r>
          </a:p>
          <a:p>
            <a:r>
              <a:rPr lang="en-US" sz="900" b="1" dirty="0">
                <a:solidFill>
                  <a:srgbClr val="333333"/>
                </a:solidFill>
                <a:latin typeface="Inter"/>
              </a:rPr>
              <a:t>7 FBI 2022 Congressional Report on BEC and Real Estate Wire Fraud</a:t>
            </a:r>
            <a:endParaRPr lang="en-US" sz="900" dirty="0">
              <a:latin typeface="Santander Headline" panose="020B0504020201020104" pitchFamily="34" charset="0"/>
            </a:endParaRPr>
          </a:p>
        </p:txBody>
      </p:sp>
      <p:sp>
        <p:nvSpPr>
          <p:cNvPr id="16" name="object 4">
            <a:extLst>
              <a:ext uri="{FF2B5EF4-FFF2-40B4-BE49-F238E27FC236}">
                <a16:creationId xmlns:a16="http://schemas.microsoft.com/office/drawing/2014/main" id="{2787391A-E2A7-FCCB-FE4A-3CB4C4A26C43}"/>
              </a:ext>
            </a:extLst>
          </p:cNvPr>
          <p:cNvSpPr txBox="1"/>
          <p:nvPr/>
        </p:nvSpPr>
        <p:spPr>
          <a:xfrm>
            <a:off x="429804" y="873103"/>
            <a:ext cx="7242235" cy="2567369"/>
          </a:xfrm>
          <a:prstGeom prst="rect">
            <a:avLst/>
          </a:prstGeom>
        </p:spPr>
        <p:txBody>
          <a:bodyPr vert="horz" wrap="square" lIns="0" tIns="12700" rIns="0" bIns="0" rtlCol="0">
            <a:spAutoFit/>
          </a:bodyPr>
          <a:lstStyle/>
          <a:p>
            <a:pPr marL="12700" marR="5080">
              <a:lnSpc>
                <a:spcPct val="100000"/>
              </a:lnSpc>
              <a:spcAft>
                <a:spcPts val="600"/>
              </a:spcAft>
            </a:pPr>
            <a:r>
              <a:rPr lang="en-US" sz="1800" b="1" dirty="0">
                <a:latin typeface="Santander Headline" panose="020B0504020201020104" pitchFamily="34" charset="0"/>
                <a:cs typeface="Segoe UI"/>
              </a:rPr>
              <a:t>Business Email Compromised (BEC): </a:t>
            </a:r>
            <a:r>
              <a:rPr lang="en-US" sz="1800" spc="5" dirty="0">
                <a:latin typeface="Santander Headline" panose="020B0504020201020104" pitchFamily="34" charset="0"/>
                <a:cs typeface="Segoe UI"/>
              </a:rPr>
              <a:t>A </a:t>
            </a:r>
            <a:r>
              <a:rPr lang="en-US" sz="1800" dirty="0">
                <a:latin typeface="Santander Headline" panose="020B0504020201020104" pitchFamily="34" charset="0"/>
                <a:cs typeface="Segoe UI"/>
              </a:rPr>
              <a:t>fraudulent email </a:t>
            </a:r>
            <a:r>
              <a:rPr lang="en-US" sz="1800" spc="-5" dirty="0">
                <a:latin typeface="Santander Headline" panose="020B0504020201020104" pitchFamily="34" charset="0"/>
                <a:cs typeface="Segoe UI"/>
              </a:rPr>
              <a:t>appearing </a:t>
            </a:r>
            <a:r>
              <a:rPr lang="en-US" sz="1800" spc="-10" dirty="0">
                <a:latin typeface="Santander Headline" panose="020B0504020201020104" pitchFamily="34" charset="0"/>
                <a:cs typeface="Segoe UI"/>
              </a:rPr>
              <a:t>to </a:t>
            </a:r>
            <a:r>
              <a:rPr lang="en-US" sz="1800" dirty="0">
                <a:latin typeface="Santander Headline" panose="020B0504020201020104" pitchFamily="34" charset="0"/>
                <a:cs typeface="Segoe UI"/>
              </a:rPr>
              <a:t>come </a:t>
            </a:r>
            <a:r>
              <a:rPr lang="en-US" sz="1800" spc="-5" dirty="0">
                <a:latin typeface="Santander Headline" panose="020B0504020201020104" pitchFamily="34" charset="0"/>
                <a:cs typeface="Segoe UI"/>
              </a:rPr>
              <a:t>from </a:t>
            </a:r>
            <a:r>
              <a:rPr lang="en-US" sz="1800" dirty="0">
                <a:latin typeface="Santander Headline" panose="020B0504020201020104" pitchFamily="34" charset="0"/>
                <a:cs typeface="Segoe UI"/>
              </a:rPr>
              <a:t>a high-level </a:t>
            </a:r>
            <a:r>
              <a:rPr lang="en-US" sz="1800" spc="-5" dirty="0">
                <a:latin typeface="Santander Headline" panose="020B0504020201020104" pitchFamily="34" charset="0"/>
                <a:cs typeface="Segoe UI"/>
              </a:rPr>
              <a:t>employee, trusted vendor or client contact, asking </a:t>
            </a:r>
            <a:r>
              <a:rPr lang="en-US" sz="1800" dirty="0">
                <a:latin typeface="Santander Headline" panose="020B0504020201020104" pitchFamily="34" charset="0"/>
                <a:cs typeface="Segoe UI"/>
              </a:rPr>
              <a:t>for</a:t>
            </a:r>
            <a:r>
              <a:rPr lang="en-US" sz="1800" spc="-120" dirty="0">
                <a:latin typeface="Santander Headline" panose="020B0504020201020104" pitchFamily="34" charset="0"/>
                <a:cs typeface="Segoe UI"/>
              </a:rPr>
              <a:t> </a:t>
            </a:r>
            <a:r>
              <a:rPr lang="en-US" sz="1800" dirty="0">
                <a:latin typeface="Santander Headline" panose="020B0504020201020104" pitchFamily="34" charset="0"/>
                <a:cs typeface="Segoe UI"/>
              </a:rPr>
              <a:t>a </a:t>
            </a:r>
            <a:r>
              <a:rPr lang="en-US" dirty="0">
                <a:latin typeface="Santander Headline" panose="020B0504020201020104" pitchFamily="34" charset="0"/>
                <a:cs typeface="Segoe UI"/>
              </a:rPr>
              <a:t>transaction and payment to be authorized and issued.</a:t>
            </a:r>
          </a:p>
          <a:p>
            <a:pPr marL="285750" marR="370840" indent="-285750">
              <a:spcBef>
                <a:spcPts val="1005"/>
              </a:spcBef>
              <a:spcAft>
                <a:spcPts val="600"/>
              </a:spcAft>
              <a:buFont typeface="Wingdings" panose="05000000000000000000" pitchFamily="2" charset="2"/>
              <a:buChar char="§"/>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Global BEC driven fraud losses totaled $6.7 Billion in 2023</a:t>
            </a:r>
            <a:r>
              <a:rPr lang="en-US" sz="1800" spc="-7" baseline="20833" dirty="0">
                <a:latin typeface="Segoe UI"/>
                <a:cs typeface="Segoe UI"/>
              </a:rPr>
              <a:t>6</a:t>
            </a:r>
          </a:p>
          <a:p>
            <a:pPr marL="285750" marR="370840" indent="-285750">
              <a:spcBef>
                <a:spcPts val="1005"/>
              </a:spcBef>
              <a:spcAft>
                <a:spcPts val="600"/>
              </a:spcAft>
              <a:buFont typeface="Wingdings" panose="05000000000000000000" pitchFamily="2" charset="2"/>
              <a:buChar char="§"/>
              <a:tabLst>
                <a:tab pos="267970" algn="l"/>
              </a:tabLst>
            </a:pPr>
            <a:r>
              <a:rPr lang="en-US" dirty="0">
                <a:latin typeface="Santander Headline" panose="020B0504020201020104" pitchFamily="34" charset="0"/>
                <a:ea typeface="Open Sans" panose="020B0606030504020204" pitchFamily="34" charset="0"/>
                <a:cs typeface="Open Sans" panose="020B0606030504020204" pitchFamily="34" charset="0"/>
              </a:rPr>
              <a:t>Money Mule accounts receiving illicit funds resulting from a BEC scam are reported in all 50 states and 177 different countries</a:t>
            </a:r>
            <a:r>
              <a:rPr lang="en-US" sz="1800" spc="-7" baseline="20833" dirty="0">
                <a:latin typeface="Segoe UI"/>
                <a:cs typeface="Segoe UI"/>
              </a:rPr>
              <a:t>7</a:t>
            </a:r>
            <a:endParaRPr lang="en-US" dirty="0">
              <a:latin typeface="Santander Headline" panose="020B0504020201020104" pitchFamily="34" charset="0"/>
              <a:ea typeface="Open Sans" panose="020B0606030504020204" pitchFamily="34" charset="0"/>
              <a:cs typeface="Open Sans" panose="020B0606030504020204" pitchFamily="34" charset="0"/>
            </a:endParaRPr>
          </a:p>
          <a:p>
            <a:pPr marL="285750" marR="370840" indent="-285750">
              <a:spcBef>
                <a:spcPts val="1005"/>
              </a:spcBef>
              <a:spcAft>
                <a:spcPts val="600"/>
              </a:spcAft>
              <a:buFont typeface="Wingdings" panose="05000000000000000000" pitchFamily="2" charset="2"/>
              <a:buChar char="§"/>
              <a:tabLst>
                <a:tab pos="267970" algn="l"/>
              </a:tabLst>
            </a:pPr>
            <a:endParaRPr lang="en-US" dirty="0">
              <a:latin typeface="Santander Headline" panose="020B05040202010201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C82BAC07-19FE-FC27-C47D-CFB6BEDCE4A5}"/>
              </a:ext>
            </a:extLst>
          </p:cNvPr>
          <p:cNvPicPr>
            <a:picLocks noChangeAspect="1"/>
          </p:cNvPicPr>
          <p:nvPr/>
        </p:nvPicPr>
        <p:blipFill>
          <a:blip r:embed="rId6"/>
          <a:stretch>
            <a:fillRect/>
          </a:stretch>
        </p:blipFill>
        <p:spPr>
          <a:xfrm>
            <a:off x="9155150" y="6218309"/>
            <a:ext cx="3036849" cy="639691"/>
          </a:xfrm>
          <a:prstGeom prst="rect">
            <a:avLst/>
          </a:prstGeom>
        </p:spPr>
      </p:pic>
      <p:sp>
        <p:nvSpPr>
          <p:cNvPr id="5" name="Rectangle 4">
            <a:extLst>
              <a:ext uri="{FF2B5EF4-FFF2-40B4-BE49-F238E27FC236}">
                <a16:creationId xmlns:a16="http://schemas.microsoft.com/office/drawing/2014/main" id="{2D2FF39E-BB65-FF10-9114-B0E169176706}"/>
              </a:ext>
            </a:extLst>
          </p:cNvPr>
          <p:cNvSpPr/>
          <p:nvPr/>
        </p:nvSpPr>
        <p:spPr>
          <a:xfrm>
            <a:off x="293648" y="3222703"/>
            <a:ext cx="11582401" cy="2765502"/>
          </a:xfrm>
          <a:prstGeom prst="rect">
            <a:avLst/>
          </a:prstGeom>
          <a:solidFill>
            <a:srgbClr val="DEEDF2"/>
          </a:solidFill>
        </p:spPr>
        <p:txBody>
          <a:bodyPr wrap="square">
            <a:noAutofit/>
          </a:bodyPr>
          <a:lstStyle/>
          <a:p>
            <a:pPr>
              <a:spcBef>
                <a:spcPts val="1005"/>
              </a:spcBef>
            </a:pPr>
            <a:r>
              <a:rPr lang="en-US" b="1" dirty="0">
                <a:solidFill>
                  <a:srgbClr val="C00000"/>
                </a:solidFill>
                <a:latin typeface="Santander Headline" panose="020B0504020201020104" pitchFamily="34" charset="0"/>
                <a:ea typeface="Open Sans" panose="020B0606030504020204" pitchFamily="34" charset="0"/>
                <a:cs typeface="Open Sans" panose="020B0606030504020204" pitchFamily="34" charset="0"/>
              </a:rPr>
              <a:t>Tips To Help Prevent Business Email Compromise</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Train staff on what a BEC fraud scheme is and how to identify  potential warning signs. Deploy internal BEC campaigns and recognize staff and departments with strong cyber risk and fraud awareness. </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Share information online including social media carefully. Information including association to employer and other individuals provides the scammer with data needed to begin social engineering and targeting individuals with fraud attempts.</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Question new payment requests that have an unclear purpose, a strong sense of  urgency, last minute change in wiring information, communicated only via email.</a:t>
            </a:r>
          </a:p>
          <a:p>
            <a:pPr marL="228600" indent="-228600">
              <a:spcBef>
                <a:spcPts val="1200"/>
              </a:spcBef>
              <a:buClr>
                <a:srgbClr val="EC0000"/>
              </a:buClr>
              <a:buFont typeface="Wingdings" panose="05000000000000000000" pitchFamily="2" charset="2"/>
              <a:buChar char="§"/>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Confirm any payment requests to a new or modified beneficiary account with a direct call to an established phone number.</a:t>
            </a:r>
          </a:p>
        </p:txBody>
      </p:sp>
      <p:sp>
        <p:nvSpPr>
          <p:cNvPr id="6" name="object 10">
            <a:extLst>
              <a:ext uri="{FF2B5EF4-FFF2-40B4-BE49-F238E27FC236}">
                <a16:creationId xmlns:a16="http://schemas.microsoft.com/office/drawing/2014/main" id="{32D3ED49-2246-D94C-F5E4-DAA97B2BA431}"/>
              </a:ext>
            </a:extLst>
          </p:cNvPr>
          <p:cNvSpPr/>
          <p:nvPr/>
        </p:nvSpPr>
        <p:spPr>
          <a:xfrm>
            <a:off x="7966799" y="1055418"/>
            <a:ext cx="3642360" cy="1498211"/>
          </a:xfrm>
          <a:prstGeom prst="rect">
            <a:avLst/>
          </a:prstGeom>
          <a:blipFill>
            <a:blip r:embed="rId7"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997726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891DC7-9301-4E87-858D-1F90BBD28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6" progId="TCLayout.ActiveDocument.1">
                  <p:embed/>
                </p:oleObj>
              </mc:Choice>
              <mc:Fallback>
                <p:oleObj name="think-cell Slide" r:id="rId4" imgW="444" imgH="446" progId="TCLayout.ActiveDocument.1">
                  <p:embed/>
                  <p:pic>
                    <p:nvPicPr>
                      <p:cNvPr id="2" name="Object 1" hidden="1">
                        <a:extLst>
                          <a:ext uri="{FF2B5EF4-FFF2-40B4-BE49-F238E27FC236}">
                            <a16:creationId xmlns:a16="http://schemas.microsoft.com/office/drawing/2014/main" id="{EB891DC7-9301-4E87-858D-1F90BBD289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ext Placeholder 1">
            <a:extLst>
              <a:ext uri="{FF2B5EF4-FFF2-40B4-BE49-F238E27FC236}">
                <a16:creationId xmlns:a16="http://schemas.microsoft.com/office/drawing/2014/main" id="{C7319B48-55FB-4B61-80E3-67430667EDDD}"/>
              </a:ext>
            </a:extLst>
          </p:cNvPr>
          <p:cNvSpPr txBox="1">
            <a:spLocks/>
          </p:cNvSpPr>
          <p:nvPr/>
        </p:nvSpPr>
        <p:spPr>
          <a:xfrm>
            <a:off x="306084" y="322764"/>
            <a:ext cx="11233227" cy="491239"/>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1000"/>
              </a:spcBef>
              <a:spcAft>
                <a:spcPts val="0"/>
              </a:spcAft>
              <a:buClrTx/>
              <a:buSzTx/>
              <a:buFontTx/>
              <a:buNone/>
              <a:tabLst/>
              <a:defRPr sz="2800" kern="1200">
                <a:solidFill>
                  <a:schemeClr val="tx2"/>
                </a:solidFill>
                <a:latin typeface="+mj-lt"/>
                <a:ea typeface="+mn-ea"/>
                <a:cs typeface="+mn-cs"/>
              </a:defRPr>
            </a:lvl1pPr>
            <a:lvl2pPr marL="457200" indent="0" algn="l" defTabSz="914400" rtl="0" eaLnBrk="1" latinLnBrk="0" hangingPunct="1">
              <a:lnSpc>
                <a:spcPct val="90000"/>
              </a:lnSpc>
              <a:spcBef>
                <a:spcPts val="500"/>
              </a:spcBef>
              <a:buFontTx/>
              <a:buNone/>
              <a:defRPr sz="11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05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marR="0" lvl="0" indent="0" algn="l" defTabSz="914400" rtl="0" eaLnBrk="1" fontAlgn="auto" latinLnBrk="0" hangingPunct="1">
              <a:lnSpc>
                <a:spcPts val="2280"/>
              </a:lnSpc>
              <a:spcBef>
                <a:spcPts val="100"/>
              </a:spcBef>
              <a:spcAft>
                <a:spcPts val="0"/>
              </a:spcAft>
              <a:buClrTx/>
              <a:buSzTx/>
              <a:buFontTx/>
              <a:buNone/>
              <a:tabLst/>
              <a:defRPr/>
            </a:pPr>
            <a:r>
              <a:rPr kumimoji="0" lang="en-US" sz="2400" b="1"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rPr>
              <a:t>NESGFOA | Industry Fraud Trends and Analysis</a:t>
            </a:r>
            <a:endParaRPr kumimoji="0" lang="en-US" sz="2400" b="0" i="0" u="none" strike="noStrike" kern="1200" cap="none" spc="-5" normalizeH="0" baseline="0" noProof="0" dirty="0">
              <a:ln>
                <a:noFill/>
              </a:ln>
              <a:solidFill>
                <a:schemeClr val="tx1">
                  <a:lumMod val="50000"/>
                  <a:lumOff val="50000"/>
                </a:schemeClr>
              </a:solidFill>
              <a:effectLst/>
              <a:uLnTx/>
              <a:uFillTx/>
              <a:latin typeface="Santander Headline" panose="020B0504020201020104" pitchFamily="34" charset="0"/>
              <a:cs typeface="Arial"/>
            </a:endParaRPr>
          </a:p>
        </p:txBody>
      </p:sp>
      <p:sp>
        <p:nvSpPr>
          <p:cNvPr id="16" name="object 4">
            <a:extLst>
              <a:ext uri="{FF2B5EF4-FFF2-40B4-BE49-F238E27FC236}">
                <a16:creationId xmlns:a16="http://schemas.microsoft.com/office/drawing/2014/main" id="{2787391A-E2A7-FCCB-FE4A-3CB4C4A26C43}"/>
              </a:ext>
            </a:extLst>
          </p:cNvPr>
          <p:cNvSpPr txBox="1"/>
          <p:nvPr/>
        </p:nvSpPr>
        <p:spPr>
          <a:xfrm>
            <a:off x="349794" y="873103"/>
            <a:ext cx="8039826" cy="2782813"/>
          </a:xfrm>
          <a:prstGeom prst="rect">
            <a:avLst/>
          </a:prstGeom>
        </p:spPr>
        <p:txBody>
          <a:bodyPr vert="horz" wrap="square" lIns="0" tIns="12700" rIns="0" bIns="0" rtlCol="0">
            <a:spAutoFit/>
          </a:bodyPr>
          <a:lstStyle/>
          <a:p>
            <a:pPr marL="12700" marR="5080">
              <a:lnSpc>
                <a:spcPct val="100000"/>
              </a:lnSpc>
              <a:spcAft>
                <a:spcPts val="600"/>
              </a:spcAft>
            </a:pPr>
            <a:r>
              <a:rPr lang="en-US" sz="1600" b="1" dirty="0">
                <a:latin typeface="Santander Headline" panose="020B0504020201020104" pitchFamily="34" charset="0"/>
                <a:cs typeface="Segoe UI"/>
              </a:rPr>
              <a:t>How Does Check Fraud Happen?</a:t>
            </a:r>
            <a:endParaRPr lang="en-US" sz="1600" dirty="0">
              <a:latin typeface="Santander Headline" panose="020B0504020201020104" pitchFamily="34" charset="0"/>
              <a:cs typeface="Segoe UI"/>
            </a:endParaRPr>
          </a:p>
          <a:p>
            <a:pPr marL="342900" marR="370840" indent="-342900">
              <a:spcAft>
                <a:spcPts val="600"/>
              </a:spcAft>
              <a:buFont typeface="+mj-lt"/>
              <a:buAutoNum type="arabicPeriod"/>
              <a:tabLst>
                <a:tab pos="267970" algn="l"/>
              </a:tabLst>
            </a:pPr>
            <a:r>
              <a:rPr lang="en-US" sz="1600" dirty="0">
                <a:latin typeface="Santander Headline" panose="020B0504020201020104" pitchFamily="34" charset="0"/>
                <a:ea typeface="Open Sans" panose="020B0606030504020204" pitchFamily="34" charset="0"/>
                <a:cs typeface="Open Sans" panose="020B0606030504020204" pitchFamily="34" charset="0"/>
              </a:rPr>
              <a:t>A Financial Institution issues a physical check to a customer. The physical check is in possession of print vendors and mail couriers while in transit to the customer. </a:t>
            </a:r>
          </a:p>
          <a:p>
            <a:pPr marL="342900" marR="370840" indent="-342900">
              <a:spcAft>
                <a:spcPts val="600"/>
              </a:spcAft>
              <a:buFont typeface="+mj-lt"/>
              <a:buAutoNum type="arabicPeriod"/>
              <a:tabLst>
                <a:tab pos="267970" algn="l"/>
              </a:tabLst>
            </a:pPr>
            <a:r>
              <a:rPr lang="en-US" sz="1600" dirty="0">
                <a:latin typeface="Santander Headline" panose="020B0504020201020104" pitchFamily="34" charset="0"/>
                <a:ea typeface="Open Sans" panose="020B0606030504020204" pitchFamily="34" charset="0"/>
                <a:cs typeface="Open Sans" panose="020B0606030504020204" pitchFamily="34" charset="0"/>
              </a:rPr>
              <a:t>The customer writes a check to a biller or payee where the physical item again passes through the possession of numerous entities until the check is deposited by the negotiating FI.</a:t>
            </a:r>
          </a:p>
          <a:p>
            <a:pPr marL="342900" marR="370840" indent="-342900">
              <a:spcAft>
                <a:spcPts val="600"/>
              </a:spcAft>
              <a:buFont typeface="+mj-lt"/>
              <a:buAutoNum type="arabicPeriod"/>
              <a:tabLst>
                <a:tab pos="267970" algn="l"/>
              </a:tabLst>
            </a:pPr>
            <a:r>
              <a:rPr lang="en-US" sz="1600" dirty="0">
                <a:latin typeface="Santander Headline" panose="020B0504020201020104" pitchFamily="34" charset="0"/>
                <a:ea typeface="Open Sans" panose="020B0606030504020204" pitchFamily="34" charset="0"/>
                <a:cs typeface="Open Sans" panose="020B0606030504020204" pitchFamily="34" charset="0"/>
              </a:rPr>
              <a:t>A fraudster in position of the item can steal the check or take photograph of the item, using the information to create a counterfeit check, alter the item including forging the endorsement to drawn from the business’s account.</a:t>
            </a:r>
          </a:p>
          <a:p>
            <a:pPr marL="342900" marR="370840" indent="-342900">
              <a:spcAft>
                <a:spcPts val="600"/>
              </a:spcAft>
              <a:buFont typeface="+mj-lt"/>
              <a:buAutoNum type="arabicPeriod"/>
              <a:tabLst>
                <a:tab pos="267970" algn="l"/>
              </a:tabLst>
            </a:pPr>
            <a:r>
              <a:rPr lang="en-US" sz="1600" dirty="0">
                <a:latin typeface="Santander Headline" panose="020B0504020201020104" pitchFamily="34" charset="0"/>
                <a:ea typeface="Open Sans" panose="020B0606030504020204" pitchFamily="34" charset="0"/>
                <a:cs typeface="Open Sans" panose="020B0606030504020204" pitchFamily="34" charset="0"/>
              </a:rPr>
              <a:t>The fraudster deposits the check and withdraws the funds from the money mule account.</a:t>
            </a:r>
          </a:p>
        </p:txBody>
      </p:sp>
      <p:pic>
        <p:nvPicPr>
          <p:cNvPr id="4" name="Picture 3">
            <a:extLst>
              <a:ext uri="{FF2B5EF4-FFF2-40B4-BE49-F238E27FC236}">
                <a16:creationId xmlns:a16="http://schemas.microsoft.com/office/drawing/2014/main" id="{C82BAC07-19FE-FC27-C47D-CFB6BEDCE4A5}"/>
              </a:ext>
            </a:extLst>
          </p:cNvPr>
          <p:cNvPicPr>
            <a:picLocks noChangeAspect="1"/>
          </p:cNvPicPr>
          <p:nvPr/>
        </p:nvPicPr>
        <p:blipFill>
          <a:blip r:embed="rId6"/>
          <a:stretch>
            <a:fillRect/>
          </a:stretch>
        </p:blipFill>
        <p:spPr>
          <a:xfrm>
            <a:off x="9155150" y="6218309"/>
            <a:ext cx="3036849" cy="639691"/>
          </a:xfrm>
          <a:prstGeom prst="rect">
            <a:avLst/>
          </a:prstGeom>
        </p:spPr>
      </p:pic>
      <p:sp>
        <p:nvSpPr>
          <p:cNvPr id="5" name="Rectangle 4">
            <a:extLst>
              <a:ext uri="{FF2B5EF4-FFF2-40B4-BE49-F238E27FC236}">
                <a16:creationId xmlns:a16="http://schemas.microsoft.com/office/drawing/2014/main" id="{3A7D1EE4-19AB-D160-8A85-57C9453FB504}"/>
              </a:ext>
            </a:extLst>
          </p:cNvPr>
          <p:cNvSpPr/>
          <p:nvPr/>
        </p:nvSpPr>
        <p:spPr>
          <a:xfrm>
            <a:off x="8092440" y="537210"/>
            <a:ext cx="3886200" cy="3143250"/>
          </a:xfrm>
          <a:prstGeom prst="rect">
            <a:avLst/>
          </a:prstGeom>
          <a:solidFill>
            <a:srgbClr val="DEEDF2"/>
          </a:solidFill>
        </p:spPr>
        <p:txBody>
          <a:bodyPr wrap="square">
            <a:noAutofit/>
          </a:bodyPr>
          <a:lstStyle/>
          <a:p>
            <a:pPr algn="ctr">
              <a:spcBef>
                <a:spcPts val="1005"/>
              </a:spcBef>
              <a:spcAft>
                <a:spcPts val="600"/>
              </a:spcAft>
            </a:pPr>
            <a:r>
              <a:rPr lang="en-US" sz="1600" b="1" dirty="0">
                <a:solidFill>
                  <a:srgbClr val="C00000"/>
                </a:solidFill>
                <a:latin typeface="Santander Headline" panose="020B0504020201020104" pitchFamily="34" charset="0"/>
                <a:ea typeface="Open Sans" panose="020B0606030504020204" pitchFamily="34" charset="0"/>
                <a:cs typeface="Open Sans" panose="020B0606030504020204" pitchFamily="34" charset="0"/>
              </a:rPr>
              <a:t>TIPS TO HELP PREVENT DDA FRAUD</a:t>
            </a:r>
          </a:p>
          <a:p>
            <a:pPr marL="228600" indent="-228600">
              <a:lnSpc>
                <a:spcPct val="100000"/>
              </a:lnSpc>
              <a:spcBef>
                <a:spcPts val="1200"/>
              </a:spcBef>
              <a:buClr>
                <a:srgbClr val="EC0000"/>
              </a:buClr>
              <a:buFont typeface="Wingdings" panose="05000000000000000000" pitchFamily="2" charset="2"/>
              <a:buChar char="§"/>
              <a:tabLst>
                <a:tab pos="267970" algn="l"/>
              </a:tabLst>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Enroll in Positive Pay and Payee Positive Pay Service for Checks and ACH Products. </a:t>
            </a:r>
          </a:p>
          <a:p>
            <a:pPr marL="228600" indent="-228600">
              <a:lnSpc>
                <a:spcPct val="100000"/>
              </a:lnSpc>
              <a:spcBef>
                <a:spcPts val="1200"/>
              </a:spcBef>
              <a:buClr>
                <a:srgbClr val="EC0000"/>
              </a:buClr>
              <a:buFont typeface="Wingdings" panose="05000000000000000000" pitchFamily="2" charset="2"/>
              <a:buChar char="§"/>
              <a:tabLst>
                <a:tab pos="267970" algn="l"/>
              </a:tabLst>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Leverage electronic forms of payments including </a:t>
            </a:r>
            <a:r>
              <a:rPr lang="en-US" sz="1600" spc="15" dirty="0" err="1">
                <a:latin typeface="Santander Headline" panose="020B0504020201020104" pitchFamily="34" charset="0"/>
                <a:ea typeface="Open Sans" panose="020B0606030504020204" pitchFamily="34" charset="0"/>
                <a:cs typeface="Open Sans" panose="020B0606030504020204" pitchFamily="34" charset="0"/>
              </a:rPr>
              <a:t>eCheck</a:t>
            </a:r>
            <a:r>
              <a:rPr lang="en-US" sz="1600" spc="15" dirty="0">
                <a:latin typeface="Santander Headline" panose="020B0504020201020104" pitchFamily="34" charset="0"/>
                <a:ea typeface="Open Sans" panose="020B0606030504020204" pitchFamily="34" charset="0"/>
                <a:cs typeface="Open Sans" panose="020B0606030504020204" pitchFamily="34" charset="0"/>
              </a:rPr>
              <a:t> to avoid theft of paper Checks in transit. </a:t>
            </a:r>
          </a:p>
          <a:p>
            <a:pPr marL="228600" indent="-228600">
              <a:lnSpc>
                <a:spcPct val="100000"/>
              </a:lnSpc>
              <a:spcBef>
                <a:spcPts val="1200"/>
              </a:spcBef>
              <a:buClr>
                <a:srgbClr val="EC0000"/>
              </a:buClr>
              <a:buFont typeface="Wingdings" panose="05000000000000000000" pitchFamily="2" charset="2"/>
              <a:buChar char="§"/>
              <a:tabLst>
                <a:tab pos="267970" algn="l"/>
              </a:tabLst>
              <a:defRPr/>
            </a:pPr>
            <a:r>
              <a:rPr lang="en-US" sz="1600" spc="15" dirty="0">
                <a:latin typeface="Santander Headline" panose="020B0504020201020104" pitchFamily="34" charset="0"/>
                <a:ea typeface="Open Sans" panose="020B0606030504020204" pitchFamily="34" charset="0"/>
                <a:cs typeface="Open Sans" panose="020B0606030504020204" pitchFamily="34" charset="0"/>
              </a:rPr>
              <a:t>Set up two-factor (or multi-factor) authentication on any account including mobile phones used for banking authentication.</a:t>
            </a:r>
          </a:p>
        </p:txBody>
      </p:sp>
      <p:sp>
        <p:nvSpPr>
          <p:cNvPr id="6" name="Rectangle 5">
            <a:extLst>
              <a:ext uri="{FF2B5EF4-FFF2-40B4-BE49-F238E27FC236}">
                <a16:creationId xmlns:a16="http://schemas.microsoft.com/office/drawing/2014/main" id="{3DF97AA5-0DC2-2B3B-A3F5-8E6AD0C1C658}"/>
              </a:ext>
            </a:extLst>
          </p:cNvPr>
          <p:cNvSpPr/>
          <p:nvPr/>
        </p:nvSpPr>
        <p:spPr>
          <a:xfrm>
            <a:off x="720090" y="3829050"/>
            <a:ext cx="10389870" cy="2297430"/>
          </a:xfrm>
          <a:prstGeom prst="rect">
            <a:avLst/>
          </a:prstGeom>
          <a:solidFill>
            <a:srgbClr val="DEEDF2"/>
          </a:solidFill>
        </p:spPr>
        <p:txBody>
          <a:bodyPr wrap="square">
            <a:noAutofit/>
          </a:bodyPr>
          <a:lstStyle/>
          <a:p>
            <a:pPr algn="ctr">
              <a:spcBef>
                <a:spcPts val="1005"/>
              </a:spcBef>
            </a:pPr>
            <a:r>
              <a:rPr lang="en-US" b="1" dirty="0">
                <a:solidFill>
                  <a:srgbClr val="C00000"/>
                </a:solidFill>
                <a:latin typeface="Santander Headline" panose="020B0504020201020104" pitchFamily="34" charset="0"/>
                <a:ea typeface="Open Sans" panose="020B0606030504020204" pitchFamily="34" charset="0"/>
                <a:cs typeface="Open Sans" panose="020B0606030504020204" pitchFamily="34" charset="0"/>
              </a:rPr>
              <a:t>Can You Spot the Fraudulent Check?</a:t>
            </a:r>
          </a:p>
        </p:txBody>
      </p:sp>
      <p:pic>
        <p:nvPicPr>
          <p:cNvPr id="10" name="Picture 9">
            <a:extLst>
              <a:ext uri="{FF2B5EF4-FFF2-40B4-BE49-F238E27FC236}">
                <a16:creationId xmlns:a16="http://schemas.microsoft.com/office/drawing/2014/main" id="{7B19C6C4-18AD-7A41-D2D1-A076E27DADC7}"/>
              </a:ext>
            </a:extLst>
          </p:cNvPr>
          <p:cNvPicPr>
            <a:picLocks noChangeAspect="1"/>
          </p:cNvPicPr>
          <p:nvPr/>
        </p:nvPicPr>
        <p:blipFill>
          <a:blip r:embed="rId7"/>
          <a:stretch>
            <a:fillRect/>
          </a:stretch>
        </p:blipFill>
        <p:spPr>
          <a:xfrm>
            <a:off x="1074420" y="4428339"/>
            <a:ext cx="4486694" cy="1529554"/>
          </a:xfrm>
          <a:prstGeom prst="rect">
            <a:avLst/>
          </a:prstGeom>
          <a:ln w="28575">
            <a:solidFill>
              <a:schemeClr val="bg1">
                <a:lumMod val="50000"/>
              </a:schemeClr>
            </a:solidFill>
          </a:ln>
        </p:spPr>
      </p:pic>
      <p:pic>
        <p:nvPicPr>
          <p:cNvPr id="11" name="Picture 10">
            <a:extLst>
              <a:ext uri="{FF2B5EF4-FFF2-40B4-BE49-F238E27FC236}">
                <a16:creationId xmlns:a16="http://schemas.microsoft.com/office/drawing/2014/main" id="{CC7E7B20-D3D3-F778-3D2F-9D5412AA72C7}"/>
              </a:ext>
            </a:extLst>
          </p:cNvPr>
          <p:cNvPicPr>
            <a:picLocks noChangeAspect="1"/>
          </p:cNvPicPr>
          <p:nvPr/>
        </p:nvPicPr>
        <p:blipFill>
          <a:blip r:embed="rId8"/>
          <a:stretch>
            <a:fillRect/>
          </a:stretch>
        </p:blipFill>
        <p:spPr>
          <a:xfrm>
            <a:off x="6205933" y="4446732"/>
            <a:ext cx="4486693" cy="1519728"/>
          </a:xfrm>
          <a:prstGeom prst="rect">
            <a:avLst/>
          </a:prstGeom>
          <a:ln w="28575">
            <a:solidFill>
              <a:schemeClr val="bg1">
                <a:lumMod val="50000"/>
              </a:schemeClr>
            </a:solidFill>
          </a:ln>
        </p:spPr>
      </p:pic>
      <p:sp>
        <p:nvSpPr>
          <p:cNvPr id="12" name="Rectangle 11">
            <a:extLst>
              <a:ext uri="{FF2B5EF4-FFF2-40B4-BE49-F238E27FC236}">
                <a16:creationId xmlns:a16="http://schemas.microsoft.com/office/drawing/2014/main" id="{1D9B0E77-F99C-6AA2-6794-6592E0DC021B}"/>
              </a:ext>
            </a:extLst>
          </p:cNvPr>
          <p:cNvSpPr/>
          <p:nvPr/>
        </p:nvSpPr>
        <p:spPr>
          <a:xfrm>
            <a:off x="946671" y="4304593"/>
            <a:ext cx="236527" cy="2365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A</a:t>
            </a:r>
            <a:endParaRPr lang="en-US"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31971D05-4136-652D-A196-BDE6AB3FEA70}"/>
              </a:ext>
            </a:extLst>
          </p:cNvPr>
          <p:cNvSpPr/>
          <p:nvPr/>
        </p:nvSpPr>
        <p:spPr>
          <a:xfrm>
            <a:off x="6078185" y="4297615"/>
            <a:ext cx="236527" cy="2365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panose="020B0604020202020204" pitchFamily="34" charset="0"/>
                <a:cs typeface="Arial" panose="020B0604020202020204" pitchFamily="34" charset="0"/>
              </a:rPr>
              <a:t>B</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18397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FF&quot; g=&quot;0D&quot; b=&quot;0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NAME" val="Titl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2.ruqp9Rc.DDT36no6l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P0uSQ3kQ8.1J3MV0PAl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hw9ZSejSbeUdTG2iFhY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6TPsxrESFyMJ_SKu9Zl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2.ruqp9Rc.DDT36no6l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2_Tema de Office">
  <a:themeElements>
    <a:clrScheme name="SANTANDER 2018">
      <a:dk1>
        <a:sysClr val="windowText" lastClr="000000"/>
      </a:dk1>
      <a:lt1>
        <a:srgbClr val="FFFFFF"/>
      </a:lt1>
      <a:dk2>
        <a:srgbClr val="595959"/>
      </a:dk2>
      <a:lt2>
        <a:srgbClr val="E7E6E6"/>
      </a:lt2>
      <a:accent1>
        <a:srgbClr val="EC0000"/>
      </a:accent1>
      <a:accent2>
        <a:srgbClr val="C00000"/>
      </a:accent2>
      <a:accent3>
        <a:srgbClr val="9E3667"/>
      </a:accent3>
      <a:accent4>
        <a:srgbClr val="63BA68"/>
      </a:accent4>
      <a:accent5>
        <a:srgbClr val="9BC3D3"/>
      </a:accent5>
      <a:accent6>
        <a:srgbClr val="FFCC33"/>
      </a:accent6>
      <a:hlink>
        <a:srgbClr val="9E3667"/>
      </a:hlink>
      <a:folHlink>
        <a:srgbClr val="C3DEE7"/>
      </a:folHlink>
    </a:clrScheme>
    <a:fontScheme name="Personalizado 6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20140625 MRM Board Responsibilities and Effective Challenge">
  <a:themeElements>
    <a:clrScheme name="San_Custom_RedGray">
      <a:dk1>
        <a:sysClr val="windowText" lastClr="000000"/>
      </a:dk1>
      <a:lt1>
        <a:sysClr val="window" lastClr="FFFFFF"/>
      </a:lt1>
      <a:dk2>
        <a:srgbClr val="595959"/>
      </a:dk2>
      <a:lt2>
        <a:srgbClr val="E1DFDF"/>
      </a:lt2>
      <a:accent1>
        <a:srgbClr val="D34817"/>
      </a:accent1>
      <a:accent2>
        <a:srgbClr val="9B2D1F"/>
      </a:accent2>
      <a:accent3>
        <a:srgbClr val="C00000"/>
      </a:accent3>
      <a:accent4>
        <a:srgbClr val="9B9B9B"/>
      </a:accent4>
      <a:accent5>
        <a:srgbClr val="3F3F3F"/>
      </a:accent5>
      <a:accent6>
        <a:srgbClr val="B2B2B2"/>
      </a:accent6>
      <a:hlink>
        <a:srgbClr val="578FFF"/>
      </a:hlink>
      <a:folHlink>
        <a:srgbClr val="81C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pitchFamily="-112" charset="-128"/>
            <a:cs typeface="ＭＳ Ｐゴシック" pitchFamily="-112" charset="-128"/>
          </a:defRPr>
        </a:defPPr>
      </a:lstStyle>
    </a:lnDef>
  </a:objectDefaults>
  <a:extraClrSchemeLst>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vSan_Template_U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vSan_Template_U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vSan_Template_U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vSan_Template_U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vSan_Template_U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vSan_Template_US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vSan_Template_U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vSan_Template_U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vSan_Template_U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vSan_Template_U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vSan_Template_U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vSan_Template_US 13">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777777"/>
        </a:hlink>
        <a:folHlink>
          <a:srgbClr val="292929"/>
        </a:folHlink>
      </a:clrScheme>
      <a:clrMap bg1="lt1" tx1="dk1" bg2="lt2" tx2="dk2" accent1="accent1" accent2="accent2" accent3="accent3" accent4="accent4" accent5="accent5" accent6="accent6" hlink="hlink" folHlink="folHlink"/>
    </a:extraClrScheme>
    <a:extraClrScheme>
      <a:clrScheme name="SovSan_Template_US 14">
        <a:dk1>
          <a:srgbClr val="000000"/>
        </a:dk1>
        <a:lt1>
          <a:srgbClr val="FFFFFF"/>
        </a:lt1>
        <a:dk2>
          <a:srgbClr val="000000"/>
        </a:dk2>
        <a:lt2>
          <a:srgbClr val="808080"/>
        </a:lt2>
        <a:accent1>
          <a:srgbClr val="FF0000"/>
        </a:accent1>
        <a:accent2>
          <a:srgbClr val="C0C0C0"/>
        </a:accent2>
        <a:accent3>
          <a:srgbClr val="FFFFFF"/>
        </a:accent3>
        <a:accent4>
          <a:srgbClr val="000000"/>
        </a:accent4>
        <a:accent5>
          <a:srgbClr val="FFAAAA"/>
        </a:accent5>
        <a:accent6>
          <a:srgbClr val="AEAEAE"/>
        </a:accent6>
        <a:hlink>
          <a:srgbClr val="96969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014</TotalTime>
  <Words>1136</Words>
  <Application>Microsoft Office PowerPoint</Application>
  <PresentationFormat>Widescreen</PresentationFormat>
  <Paragraphs>66</Paragraphs>
  <Slides>6</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7" baseType="lpstr">
      <vt:lpstr>Arial</vt:lpstr>
      <vt:lpstr>Arial Bold</vt:lpstr>
      <vt:lpstr>Calibri</vt:lpstr>
      <vt:lpstr>Courier New</vt:lpstr>
      <vt:lpstr>Inter</vt:lpstr>
      <vt:lpstr>Santander Headline</vt:lpstr>
      <vt:lpstr>Segoe UI</vt:lpstr>
      <vt:lpstr>Wingdings</vt:lpstr>
      <vt:lpstr>2_Tema de Office</vt:lpstr>
      <vt:lpstr>1_20140625 MRM Board Responsibilities and Effective Challenge</vt:lpstr>
      <vt:lpstr>think-cell Slide</vt:lpstr>
      <vt:lpstr>The New England States Government Finance Officers Association  Industry Fraud Discuss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ylor.fisher@santander.us</dc:creator>
  <cp:lastModifiedBy>Jones, Warren F</cp:lastModifiedBy>
  <cp:revision>298</cp:revision>
  <dcterms:created xsi:type="dcterms:W3CDTF">2021-07-07T13:50:44Z</dcterms:created>
  <dcterms:modified xsi:type="dcterms:W3CDTF">2024-09-04T14: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0f90fca-59d9-4aac-bcc2-47e1f4ce48b8_Enabled">
    <vt:lpwstr>true</vt:lpwstr>
  </property>
  <property fmtid="{D5CDD505-2E9C-101B-9397-08002B2CF9AE}" pid="3" name="MSIP_Label_e0f90fca-59d9-4aac-bcc2-47e1f4ce48b8_SetDate">
    <vt:lpwstr>2022-09-15T20:55:42Z</vt:lpwstr>
  </property>
  <property fmtid="{D5CDD505-2E9C-101B-9397-08002B2CF9AE}" pid="4" name="MSIP_Label_e0f90fca-59d9-4aac-bcc2-47e1f4ce48b8_Method">
    <vt:lpwstr>Standard</vt:lpwstr>
  </property>
  <property fmtid="{D5CDD505-2E9C-101B-9397-08002B2CF9AE}" pid="5" name="MSIP_Label_e0f90fca-59d9-4aac-bcc2-47e1f4ce48b8_Name">
    <vt:lpwstr>US Confidential</vt:lpwstr>
  </property>
  <property fmtid="{D5CDD505-2E9C-101B-9397-08002B2CF9AE}" pid="6" name="MSIP_Label_e0f90fca-59d9-4aac-bcc2-47e1f4ce48b8_SiteId">
    <vt:lpwstr>35595a02-4d6d-44ac-99e1-f9ab4cd872db</vt:lpwstr>
  </property>
  <property fmtid="{D5CDD505-2E9C-101B-9397-08002B2CF9AE}" pid="7" name="MSIP_Label_e0f90fca-59d9-4aac-bcc2-47e1f4ce48b8_ActionId">
    <vt:lpwstr>8b3b70e1-1155-4820-a47d-88dfe2ae391c</vt:lpwstr>
  </property>
  <property fmtid="{D5CDD505-2E9C-101B-9397-08002B2CF9AE}" pid="8" name="MSIP_Label_e0f90fca-59d9-4aac-bcc2-47e1f4ce48b8_ContentBits">
    <vt:lpwstr>1</vt:lpwstr>
  </property>
</Properties>
</file>